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Override1.xml" ContentType="application/vnd.openxmlformats-officedocument.themeOverride+xml"/>
  <Override PartName="/ppt/tags/tag2.xml" ContentType="application/vnd.openxmlformats-officedocument.presentationml.tags+xml"/>
  <Override PartName="/ppt/theme/themeOverride2.xml" ContentType="application/vnd.openxmlformats-officedocument.themeOverride+xml"/>
  <Override PartName="/ppt/tags/tag3.xml" ContentType="application/vnd.openxmlformats-officedocument.presentationml.tags+xml"/>
  <Override PartName="/ppt/theme/themeOverride3.xml" ContentType="application/vnd.openxmlformats-officedocument.themeOverride+xml"/>
  <Override PartName="/ppt/tags/tag4.xml" ContentType="application/vnd.openxmlformats-officedocument.presentationml.tags+xml"/>
  <Override PartName="/ppt/tags/tag5.xml" ContentType="application/vnd.openxmlformats-officedocument.presentationml.tags+xml"/>
  <Override PartName="/ppt/theme/themeOverride4.xml" ContentType="application/vnd.openxmlformats-officedocument.themeOverr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Override5.xml" ContentType="application/vnd.openxmlformats-officedocument.themeOverr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Override6.xml" ContentType="application/vnd.openxmlformats-officedocument.themeOverride+xml"/>
  <Override PartName="/ppt/tags/tag15.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16"/>
  </p:notesMasterIdLst>
  <p:sldIdLst>
    <p:sldId id="256" r:id="rId2"/>
    <p:sldId id="269" r:id="rId3"/>
    <p:sldId id="258" r:id="rId4"/>
    <p:sldId id="270" r:id="rId5"/>
    <p:sldId id="271" r:id="rId6"/>
    <p:sldId id="275" r:id="rId7"/>
    <p:sldId id="277" r:id="rId8"/>
    <p:sldId id="278" r:id="rId9"/>
    <p:sldId id="281" r:id="rId10"/>
    <p:sldId id="282" r:id="rId11"/>
    <p:sldId id="272" r:id="rId12"/>
    <p:sldId id="279" r:id="rId13"/>
    <p:sldId id="280" r:id="rId14"/>
    <p:sldId id="261" r:id="rId15"/>
  </p:sldIdLst>
  <p:sldSz cx="12192000" cy="6858000"/>
  <p:notesSz cx="6858000" cy="9144000"/>
  <p:custDataLst>
    <p:tags r:id="rId17"/>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5175"/>
    <a:srgbClr val="E4ECED"/>
    <a:srgbClr val="857169"/>
    <a:srgbClr val="366796"/>
    <a:srgbClr val="9FBAD1"/>
    <a:srgbClr val="5E2F19"/>
    <a:srgbClr val="2A2833"/>
    <a:srgbClr val="EEF1EB"/>
    <a:srgbClr val="D4E2E2"/>
    <a:srgbClr val="523B2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DFD4203-D9ED-440C-90F0-E44693686A18}" v="111" dt="2018-07-30T02:23:45.02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88" autoAdjust="0"/>
    <p:restoredTop sz="96201" autoAdjust="0"/>
  </p:normalViewPr>
  <p:slideViewPr>
    <p:cSldViewPr snapToGrid="0">
      <p:cViewPr varScale="1">
        <p:scale>
          <a:sx n="78" d="100"/>
          <a:sy n="78" d="100"/>
        </p:scale>
        <p:origin x="86" y="245"/>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75" d="100"/>
        <a:sy n="75"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microsoft.com/office/2015/10/relationships/revisionInfo" Target="revisionInfo.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3/5/29</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21849815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spTree>
      <p:nvGrpSpPr>
        <p:cNvPr id="1" name=""/>
        <p:cNvGrpSpPr/>
        <p:nvPr/>
      </p:nvGrpSpPr>
      <p:grpSpPr>
        <a:xfrm>
          <a:off x="0" y="0"/>
          <a:ext cx="0" cy="0"/>
          <a:chOff x="0" y="0"/>
          <a:chExt cx="0" cy="0"/>
        </a:xfrm>
      </p:grpSpPr>
      <p:sp>
        <p:nvSpPr>
          <p:cNvPr id="4" name="矩形 3">
            <a:extLst>
              <a:ext uri="{FF2B5EF4-FFF2-40B4-BE49-F238E27FC236}">
                <a16:creationId xmlns:a16="http://schemas.microsoft.com/office/drawing/2014/main" id="{FF387829-D7B1-49D0-AE90-48C143ECEF06}"/>
              </a:ext>
            </a:extLst>
          </p:cNvPr>
          <p:cNvSpPr/>
          <p:nvPr userDrawn="1"/>
        </p:nvSpPr>
        <p:spPr>
          <a:xfrm>
            <a:off x="0" y="0"/>
            <a:ext cx="12192000" cy="6858000"/>
          </a:xfrm>
          <a:prstGeom prst="rect">
            <a:avLst/>
          </a:prstGeom>
          <a:blipFill>
            <a:blip r:embed="rId2">
              <a:alphaModFix amt="41000"/>
            </a:blip>
            <a:srcRect/>
            <a:stretch>
              <a:fillRect t="-9245" b="-924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圆: 空心 1">
            <a:extLst>
              <a:ext uri="{FF2B5EF4-FFF2-40B4-BE49-F238E27FC236}">
                <a16:creationId xmlns:a16="http://schemas.microsoft.com/office/drawing/2014/main" id="{BFB387C8-2F2C-4F47-A33F-29766C446A48}"/>
              </a:ext>
            </a:extLst>
          </p:cNvPr>
          <p:cNvSpPr/>
          <p:nvPr userDrawn="1"/>
        </p:nvSpPr>
        <p:spPr>
          <a:xfrm>
            <a:off x="2808071" y="264943"/>
            <a:ext cx="6391373" cy="6391373"/>
          </a:xfrm>
          <a:prstGeom prst="donut">
            <a:avLst>
              <a:gd name="adj" fmla="val 15148"/>
            </a:avLst>
          </a:prstGeom>
          <a:blipFill dpi="0" rotWithShape="1">
            <a:blip r:embed="rId2">
              <a:alphaModFix amt="41000"/>
            </a:blip>
            <a:srcRect/>
            <a:stretch>
              <a:fillRect l="-25018" r="-25018"/>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9801" name="副标题 2"/>
          <p:cNvSpPr>
            <a:spLocks noGrp="1"/>
          </p:cNvSpPr>
          <p:nvPr userDrawn="1">
            <p:ph type="subTitle" idx="1"/>
          </p:nvPr>
        </p:nvSpPr>
        <p:spPr>
          <a:xfrm>
            <a:off x="3463880" y="3337059"/>
            <a:ext cx="5079756" cy="434625"/>
          </a:xfrm>
        </p:spPr>
        <p:txBody>
          <a:bodyPr anchor="ctr">
            <a:normAutofit/>
          </a:bodyPr>
          <a:lstStyle>
            <a:lvl1pPr marL="0" indent="0" algn="ctr">
              <a:buNone/>
              <a:defRPr sz="1800">
                <a:solidFill>
                  <a:schemeClr val="accent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9802" name="标题 1"/>
          <p:cNvSpPr>
            <a:spLocks noGrp="1"/>
          </p:cNvSpPr>
          <p:nvPr userDrawn="1">
            <p:ph type="ctrTitle"/>
          </p:nvPr>
        </p:nvSpPr>
        <p:spPr>
          <a:xfrm>
            <a:off x="3463880" y="2152074"/>
            <a:ext cx="5079756" cy="1180374"/>
          </a:xfrm>
        </p:spPr>
        <p:txBody>
          <a:bodyPr anchor="ctr">
            <a:noAutofit/>
          </a:bodyPr>
          <a:lstStyle>
            <a:lvl1pPr algn="ctr">
              <a:defRPr sz="4000">
                <a:solidFill>
                  <a:schemeClr val="accent1"/>
                </a:solidFill>
              </a:defRPr>
            </a:lvl1pPr>
          </a:lstStyle>
          <a:p>
            <a:r>
              <a:rPr lang="en-US" dirty="0"/>
              <a:t>Click to edit Master title style</a:t>
            </a:r>
            <a:endParaRPr lang="zh-CN" altLang="en-US" dirty="0"/>
          </a:p>
        </p:txBody>
      </p:sp>
      <p:sp>
        <p:nvSpPr>
          <p:cNvPr id="12" name="文本占位符 13"/>
          <p:cNvSpPr>
            <a:spLocks noGrp="1"/>
          </p:cNvSpPr>
          <p:nvPr userDrawn="1">
            <p:ph type="body" sz="quarter" idx="10" hasCustomPrompt="1"/>
          </p:nvPr>
        </p:nvSpPr>
        <p:spPr>
          <a:xfrm>
            <a:off x="3463880" y="4223418"/>
            <a:ext cx="5079756" cy="296271"/>
          </a:xfrm>
        </p:spPr>
        <p:txBody>
          <a:bodyPr vert="horz" anchor="ctr">
            <a:noAutofit/>
          </a:bodyPr>
          <a:lstStyle>
            <a:lvl1pPr marL="0" indent="0" algn="ctr">
              <a:buNone/>
              <a:defRPr sz="1500" b="0">
                <a:solidFill>
                  <a:srgbClr val="295175"/>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13" name="文本占位符 13"/>
          <p:cNvSpPr>
            <a:spLocks noGrp="1"/>
          </p:cNvSpPr>
          <p:nvPr userDrawn="1">
            <p:ph type="body" sz="quarter" idx="11" hasCustomPrompt="1"/>
          </p:nvPr>
        </p:nvSpPr>
        <p:spPr>
          <a:xfrm>
            <a:off x="3463880" y="4519689"/>
            <a:ext cx="5079756" cy="296271"/>
          </a:xfrm>
        </p:spPr>
        <p:txBody>
          <a:bodyPr vert="horz" anchor="ctr">
            <a:noAutofit/>
          </a:bodyPr>
          <a:lstStyle>
            <a:lvl1pPr marL="0" indent="0" algn="ctr">
              <a:buNone/>
              <a:defRPr sz="1500" b="0">
                <a:solidFill>
                  <a:srgbClr val="295175"/>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Date</a:t>
            </a:r>
            <a:endParaRPr lang="zh-CN" altLang="en-US" dirty="0"/>
          </a:p>
        </p:txBody>
      </p:sp>
    </p:spTree>
    <p:extLst>
      <p:ext uri="{BB962C8B-B14F-4D97-AF65-F5344CB8AC3E}">
        <p14:creationId xmlns:p14="http://schemas.microsoft.com/office/powerpoint/2010/main" val="2882586885"/>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sp>
        <p:nvSpPr>
          <p:cNvPr id="13" name="圆: 空心 12">
            <a:extLst>
              <a:ext uri="{FF2B5EF4-FFF2-40B4-BE49-F238E27FC236}">
                <a16:creationId xmlns:a16="http://schemas.microsoft.com/office/drawing/2014/main" id="{1F31E6DA-7DD7-45E4-BE31-0499BAC2D03D}"/>
              </a:ext>
            </a:extLst>
          </p:cNvPr>
          <p:cNvSpPr/>
          <p:nvPr userDrawn="1"/>
        </p:nvSpPr>
        <p:spPr>
          <a:xfrm>
            <a:off x="2808071" y="264943"/>
            <a:ext cx="6391373" cy="6391373"/>
          </a:xfrm>
          <a:prstGeom prst="donut">
            <a:avLst>
              <a:gd name="adj" fmla="val 15148"/>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20" name="标题 1"/>
          <p:cNvSpPr>
            <a:spLocks noGrp="1"/>
          </p:cNvSpPr>
          <p:nvPr userDrawn="1">
            <p:ph type="title"/>
          </p:nvPr>
        </p:nvSpPr>
        <p:spPr>
          <a:xfrm>
            <a:off x="3291157" y="2994300"/>
            <a:ext cx="5419185" cy="895350"/>
          </a:xfrm>
        </p:spPr>
        <p:txBody>
          <a:bodyPr anchor="b">
            <a:normAutofit/>
          </a:bodyPr>
          <a:lstStyle>
            <a:lvl1pPr algn="ctr">
              <a:defRPr sz="2400" b="1">
                <a:solidFill>
                  <a:schemeClr val="accent1"/>
                </a:solidFill>
              </a:defRPr>
            </a:lvl1pPr>
          </a:lstStyle>
          <a:p>
            <a:r>
              <a:rPr lang="en-US" dirty="0"/>
              <a:t>Click to edit Master title style</a:t>
            </a:r>
            <a:endParaRPr lang="zh-CN" altLang="en-US" dirty="0"/>
          </a:p>
        </p:txBody>
      </p:sp>
      <p:sp>
        <p:nvSpPr>
          <p:cNvPr id="21" name="文本占位符 2"/>
          <p:cNvSpPr>
            <a:spLocks noGrp="1"/>
          </p:cNvSpPr>
          <p:nvPr userDrawn="1">
            <p:ph type="body" idx="1"/>
          </p:nvPr>
        </p:nvSpPr>
        <p:spPr>
          <a:xfrm>
            <a:off x="3291157" y="3889650"/>
            <a:ext cx="5419185" cy="1015623"/>
          </a:xfrm>
        </p:spPr>
        <p:txBody>
          <a:bodyPr anchor="t">
            <a:normAutofit/>
          </a:bodyPr>
          <a:lstStyle>
            <a:lvl1pPr marL="0" indent="0" algn="ctr">
              <a:lnSpc>
                <a:spcPct val="100000"/>
              </a:lnSpc>
              <a:buNone/>
              <a:defRPr sz="1100">
                <a:solidFill>
                  <a:schemeClr val="accent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dirty="0"/>
              <a:t>Edit Master text styles</a:t>
            </a:r>
          </a:p>
        </p:txBody>
      </p:sp>
    </p:spTree>
    <p:extLst>
      <p:ext uri="{BB962C8B-B14F-4D97-AF65-F5344CB8AC3E}">
        <p14:creationId xmlns:p14="http://schemas.microsoft.com/office/powerpoint/2010/main" val="285333427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a:extLst>
              <a:ext uri="{FF2B5EF4-FFF2-40B4-BE49-F238E27FC236}">
                <a16:creationId xmlns:a16="http://schemas.microsoft.com/office/drawing/2014/main" id="{9888B6D7-9D3F-49D7-BACE-73A9D1149A74}"/>
              </a:ext>
            </a:extLst>
          </p:cNvPr>
          <p:cNvSpPr>
            <a:spLocks noGrp="1"/>
          </p:cNvSpPr>
          <p:nvPr>
            <p:ph type="dt" sz="half" idx="10"/>
          </p:nvPr>
        </p:nvSpPr>
        <p:spPr/>
        <p:txBody>
          <a:bodyPr/>
          <a:lstStyle/>
          <a:p>
            <a:fld id="{6489D9C7-5DC6-4263-87FF-7C99F6FB63C3}" type="datetime1">
              <a:rPr lang="zh-CN" altLang="en-US" smtClean="0"/>
              <a:pPr/>
              <a:t>2023/5/29</a:t>
            </a:fld>
            <a:endParaRPr lang="zh-CN" altLang="en-US"/>
          </a:p>
        </p:txBody>
      </p:sp>
      <p:sp>
        <p:nvSpPr>
          <p:cNvPr id="4" name="页脚占位符 3">
            <a:extLst>
              <a:ext uri="{FF2B5EF4-FFF2-40B4-BE49-F238E27FC236}">
                <a16:creationId xmlns:a16="http://schemas.microsoft.com/office/drawing/2014/main" id="{7AC997A4-1DD8-4731-B9FD-42398A20FF85}"/>
              </a:ext>
            </a:extLst>
          </p:cNvPr>
          <p:cNvSpPr>
            <a:spLocks noGrp="1"/>
          </p:cNvSpPr>
          <p:nvPr>
            <p:ph type="ftr" sz="quarter" idx="11"/>
          </p:nvPr>
        </p:nvSpPr>
        <p:spPr/>
        <p:txBody>
          <a:bodyPr/>
          <a:lstStyle/>
          <a:p>
            <a:r>
              <a:rPr lang="en-US" altLang="zh-CN"/>
              <a:t>www.islide.cc</a:t>
            </a:r>
            <a:endParaRPr lang="zh-CN" altLang="en-US" dirty="0"/>
          </a:p>
        </p:txBody>
      </p:sp>
      <p:sp>
        <p:nvSpPr>
          <p:cNvPr id="5" name="灯片编号占位符 4">
            <a:extLst>
              <a:ext uri="{FF2B5EF4-FFF2-40B4-BE49-F238E27FC236}">
                <a16:creationId xmlns:a16="http://schemas.microsoft.com/office/drawing/2014/main" id="{DBA9825E-1876-42AD-ABCF-E0E100F351CA}"/>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
        <p:nvSpPr>
          <p:cNvPr id="6" name="标题 5">
            <a:extLst>
              <a:ext uri="{FF2B5EF4-FFF2-40B4-BE49-F238E27FC236}">
                <a16:creationId xmlns:a16="http://schemas.microsoft.com/office/drawing/2014/main" id="{D124F9DB-C87A-423F-9657-38C7A2901430}"/>
              </a:ext>
            </a:extLst>
          </p:cNvPr>
          <p:cNvSpPr>
            <a:spLocks noGrp="1"/>
          </p:cNvSpPr>
          <p:nvPr>
            <p:ph type="title" hasCustomPrompt="1"/>
          </p:nvPr>
        </p:nvSpPr>
        <p:spPr/>
        <p:txBody>
          <a:bodyPr/>
          <a:lstStyle>
            <a:lvl1pPr>
              <a:defRPr/>
            </a:lvl1pPr>
          </a:lstStyle>
          <a:p>
            <a:r>
              <a:rPr lang="en-US" altLang="zh-CN" dirty="0"/>
              <a:t>Click to edit Master title style</a:t>
            </a:r>
            <a:endParaRPr lang="zh-CN" altLang="en-US" dirty="0"/>
          </a:p>
        </p:txBody>
      </p:sp>
      <p:sp>
        <p:nvSpPr>
          <p:cNvPr id="8" name="内容占位符 7">
            <a:extLst>
              <a:ext uri="{FF2B5EF4-FFF2-40B4-BE49-F238E27FC236}">
                <a16:creationId xmlns:a16="http://schemas.microsoft.com/office/drawing/2014/main" id="{2070191C-4093-409C-8FD5-7369A79637AD}"/>
              </a:ext>
            </a:extLst>
          </p:cNvPr>
          <p:cNvSpPr>
            <a:spLocks noGrp="1"/>
          </p:cNvSpPr>
          <p:nvPr>
            <p:ph sz="quarter" idx="13" hasCustomPrompt="1"/>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extLst>
      <p:ext uri="{BB962C8B-B14F-4D97-AF65-F5344CB8AC3E}">
        <p14:creationId xmlns:p14="http://schemas.microsoft.com/office/powerpoint/2010/main" val="36775934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1C7A1C-3684-4AAF-A408-C63B6CB64104}"/>
              </a:ext>
            </a:extLst>
          </p:cNvPr>
          <p:cNvSpPr>
            <a:spLocks noGrp="1"/>
          </p:cNvSpPr>
          <p:nvPr>
            <p:ph type="title" hasCustomPrompt="1"/>
          </p:nvPr>
        </p:nvSpPr>
        <p:spPr/>
        <p:txBody>
          <a:bodyPr/>
          <a:lstStyle>
            <a:lvl1pPr>
              <a:defRPr/>
            </a:lvl1pPr>
          </a:lstStyle>
          <a:p>
            <a:r>
              <a:rPr lang="en-US" altLang="zh-CN" dirty="0"/>
              <a:t>Click to edit Master title style</a:t>
            </a:r>
            <a:endParaRPr lang="en-US" dirty="0"/>
          </a:p>
        </p:txBody>
      </p:sp>
      <p:sp>
        <p:nvSpPr>
          <p:cNvPr id="3" name="Date Placeholder 2">
            <a:extLst>
              <a:ext uri="{FF2B5EF4-FFF2-40B4-BE49-F238E27FC236}">
                <a16:creationId xmlns:a16="http://schemas.microsoft.com/office/drawing/2014/main" id="{8986EA5F-D77D-4318-90E9-C04AA8ADC0D1}"/>
              </a:ext>
            </a:extLst>
          </p:cNvPr>
          <p:cNvSpPr>
            <a:spLocks noGrp="1"/>
          </p:cNvSpPr>
          <p:nvPr>
            <p:ph type="dt" sz="half" idx="10"/>
          </p:nvPr>
        </p:nvSpPr>
        <p:spPr/>
        <p:txBody>
          <a:bodyPr/>
          <a:lstStyle/>
          <a:p>
            <a:fld id="{6489D9C7-5DC6-4263-87FF-7C99F6FB63C3}" type="datetime1">
              <a:rPr lang="zh-CN" altLang="en-US" smtClean="0"/>
              <a:pPr/>
              <a:t>2023/5/29</a:t>
            </a:fld>
            <a:endParaRPr lang="zh-CN" altLang="en-US"/>
          </a:p>
        </p:txBody>
      </p:sp>
      <p:sp>
        <p:nvSpPr>
          <p:cNvPr id="4" name="Footer Placeholder 3">
            <a:extLst>
              <a:ext uri="{FF2B5EF4-FFF2-40B4-BE49-F238E27FC236}">
                <a16:creationId xmlns:a16="http://schemas.microsoft.com/office/drawing/2014/main" id="{00832621-D9D9-445E-BFF9-F8348FA1E262}"/>
              </a:ext>
            </a:extLst>
          </p:cNvPr>
          <p:cNvSpPr>
            <a:spLocks noGrp="1"/>
          </p:cNvSpPr>
          <p:nvPr>
            <p:ph type="ftr" sz="quarter" idx="11"/>
          </p:nvPr>
        </p:nvSpPr>
        <p:spPr/>
        <p:txBody>
          <a:bodyPr/>
          <a:lstStyle/>
          <a:p>
            <a:r>
              <a:rPr lang="en-US" altLang="zh-CN"/>
              <a:t>www.islide.cc</a:t>
            </a:r>
            <a:endParaRPr lang="zh-CN" altLang="en-US" dirty="0"/>
          </a:p>
        </p:txBody>
      </p:sp>
      <p:sp>
        <p:nvSpPr>
          <p:cNvPr id="5" name="Slide Number Placeholder 4">
            <a:extLst>
              <a:ext uri="{FF2B5EF4-FFF2-40B4-BE49-F238E27FC236}">
                <a16:creationId xmlns:a16="http://schemas.microsoft.com/office/drawing/2014/main" id="{8371151B-F790-4A9F-962F-B8718A9560A9}"/>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12841762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77286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spTree>
      <p:nvGrpSpPr>
        <p:cNvPr id="1" name=""/>
        <p:cNvGrpSpPr/>
        <p:nvPr/>
      </p:nvGrpSpPr>
      <p:grpSpPr>
        <a:xfrm>
          <a:off x="0" y="0"/>
          <a:ext cx="0" cy="0"/>
          <a:chOff x="0" y="0"/>
          <a:chExt cx="0" cy="0"/>
        </a:xfrm>
      </p:grpSpPr>
      <p:sp>
        <p:nvSpPr>
          <p:cNvPr id="23" name="矩形 22">
            <a:extLst>
              <a:ext uri="{FF2B5EF4-FFF2-40B4-BE49-F238E27FC236}">
                <a16:creationId xmlns:a16="http://schemas.microsoft.com/office/drawing/2014/main" id="{AD849277-7BD8-4903-9142-988FFF43E00A}"/>
              </a:ext>
            </a:extLst>
          </p:cNvPr>
          <p:cNvSpPr/>
          <p:nvPr userDrawn="1"/>
        </p:nvSpPr>
        <p:spPr>
          <a:xfrm>
            <a:off x="0" y="0"/>
            <a:ext cx="12192000" cy="6858000"/>
          </a:xfrm>
          <a:prstGeom prst="rect">
            <a:avLst/>
          </a:prstGeom>
          <a:solidFill>
            <a:srgbClr val="E4ECED">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标题 1"/>
          <p:cNvSpPr>
            <a:spLocks noGrp="1"/>
          </p:cNvSpPr>
          <p:nvPr userDrawn="1">
            <p:ph type="ctrTitle" hasCustomPrompt="1"/>
          </p:nvPr>
        </p:nvSpPr>
        <p:spPr>
          <a:xfrm>
            <a:off x="3429621" y="1972313"/>
            <a:ext cx="5090266" cy="1621509"/>
          </a:xfrm>
        </p:spPr>
        <p:txBody>
          <a:bodyPr anchor="b">
            <a:normAutofit/>
          </a:bodyPr>
          <a:lstStyle>
            <a:lvl1pPr marL="0" indent="0" algn="ctr">
              <a:buFont typeface="Arial" panose="020B0604020202020204" pitchFamily="34" charset="0"/>
              <a:buNone/>
              <a:defRPr sz="3200">
                <a:solidFill>
                  <a:schemeClr val="accent1"/>
                </a:solidFill>
              </a:defRPr>
            </a:lvl1pPr>
          </a:lstStyle>
          <a:p>
            <a:r>
              <a:rPr lang="en-US" altLang="zh-CN" dirty="0"/>
              <a:t>Conclusion</a:t>
            </a:r>
            <a:endParaRPr lang="zh-CN" altLang="en-US" dirty="0"/>
          </a:p>
        </p:txBody>
      </p:sp>
      <p:sp>
        <p:nvSpPr>
          <p:cNvPr id="15" name="文本占位符 62"/>
          <p:cNvSpPr>
            <a:spLocks noGrp="1"/>
          </p:cNvSpPr>
          <p:nvPr userDrawn="1">
            <p:ph type="body" sz="quarter" idx="18" hasCustomPrompt="1"/>
          </p:nvPr>
        </p:nvSpPr>
        <p:spPr>
          <a:xfrm>
            <a:off x="3429621" y="4278549"/>
            <a:ext cx="5090264" cy="310871"/>
          </a:xfrm>
        </p:spPr>
        <p:txBody>
          <a:bodyPr vert="horz" lIns="91440" tIns="45720" rIns="91440" bIns="45720" rtlCol="0">
            <a:normAutofit/>
          </a:bodyPr>
          <a:lstStyle>
            <a:lvl1pPr marL="0" indent="0" algn="ctr">
              <a:buNone/>
              <a:defRPr lang="zh-CN" altLang="en-US" sz="1500" smtClean="0">
                <a:solidFill>
                  <a:schemeClr val="accent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dirty="0"/>
              <a:t>Data</a:t>
            </a:r>
          </a:p>
        </p:txBody>
      </p:sp>
      <p:sp>
        <p:nvSpPr>
          <p:cNvPr id="6" name="文本占位符 13">
            <a:extLst>
              <a:ext uri="{FF2B5EF4-FFF2-40B4-BE49-F238E27FC236}">
                <a16:creationId xmlns:a16="http://schemas.microsoft.com/office/drawing/2014/main" id="{05EBDA4F-7210-4CAE-8333-80DB24212E78}"/>
              </a:ext>
            </a:extLst>
          </p:cNvPr>
          <p:cNvSpPr>
            <a:spLocks noGrp="1"/>
          </p:cNvSpPr>
          <p:nvPr userDrawn="1">
            <p:ph type="body" sz="quarter" idx="10" hasCustomPrompt="1"/>
          </p:nvPr>
        </p:nvSpPr>
        <p:spPr>
          <a:xfrm>
            <a:off x="3429621" y="3982278"/>
            <a:ext cx="5090264" cy="296271"/>
          </a:xfrm>
        </p:spPr>
        <p:txBody>
          <a:bodyPr vert="horz" anchor="ctr">
            <a:noAutofit/>
          </a:bodyPr>
          <a:lstStyle>
            <a:lvl1pPr marL="0" indent="0" algn="ctr">
              <a:buNone/>
              <a:defRPr sz="1500" b="0">
                <a:solidFill>
                  <a:schemeClr val="accent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cxnSp>
        <p:nvCxnSpPr>
          <p:cNvPr id="5" name="直接连接符 4">
            <a:extLst>
              <a:ext uri="{FF2B5EF4-FFF2-40B4-BE49-F238E27FC236}">
                <a16:creationId xmlns:a16="http://schemas.microsoft.com/office/drawing/2014/main" id="{10F251E8-81FF-4A6C-BF6B-986A63A1F2A8}"/>
              </a:ext>
            </a:extLst>
          </p:cNvPr>
          <p:cNvCxnSpPr>
            <a:cxnSpLocks/>
          </p:cNvCxnSpPr>
          <p:nvPr userDrawn="1"/>
        </p:nvCxnSpPr>
        <p:spPr>
          <a:xfrm>
            <a:off x="3838353" y="3743779"/>
            <a:ext cx="4348717" cy="0"/>
          </a:xfrm>
          <a:prstGeom prst="line">
            <a:avLst/>
          </a:prstGeom>
          <a:ln w="3175">
            <a:solidFill>
              <a:schemeClr val="accent1"/>
            </a:solidFill>
            <a:prstDash val="sysDash"/>
          </a:ln>
        </p:spPr>
        <p:style>
          <a:lnRef idx="1">
            <a:schemeClr val="accent1"/>
          </a:lnRef>
          <a:fillRef idx="0">
            <a:schemeClr val="accent1"/>
          </a:fillRef>
          <a:effectRef idx="0">
            <a:schemeClr val="accent1"/>
          </a:effectRef>
          <a:fontRef idx="minor">
            <a:schemeClr val="tx1"/>
          </a:fontRef>
        </p:style>
      </p:cxnSp>
      <p:sp>
        <p:nvSpPr>
          <p:cNvPr id="24" name="圆: 空心 23">
            <a:extLst>
              <a:ext uri="{FF2B5EF4-FFF2-40B4-BE49-F238E27FC236}">
                <a16:creationId xmlns:a16="http://schemas.microsoft.com/office/drawing/2014/main" id="{AF8C4C2C-11B8-4B85-AA6A-CFC9D0006921}"/>
              </a:ext>
            </a:extLst>
          </p:cNvPr>
          <p:cNvSpPr/>
          <p:nvPr userDrawn="1"/>
        </p:nvSpPr>
        <p:spPr>
          <a:xfrm>
            <a:off x="2808071" y="264943"/>
            <a:ext cx="6391373" cy="6391373"/>
          </a:xfrm>
          <a:prstGeom prst="donut">
            <a:avLst>
              <a:gd name="adj" fmla="val 15148"/>
            </a:avLst>
          </a:prstGeom>
          <a:blipFill dpi="0" rotWithShape="1">
            <a:blip r:embed="rId2">
              <a:alphaModFix amt="41000"/>
            </a:blip>
            <a:srcRect/>
            <a:stretch>
              <a:fillRect l="-25018" r="-25018"/>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Tree>
    <p:extLst>
      <p:ext uri="{BB962C8B-B14F-4D97-AF65-F5344CB8AC3E}">
        <p14:creationId xmlns:p14="http://schemas.microsoft.com/office/powerpoint/2010/main" val="237865840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a:extLst>
              <a:ext uri="{FF2B5EF4-FFF2-40B4-BE49-F238E27FC236}">
                <a16:creationId xmlns:a16="http://schemas.microsoft.com/office/drawing/2014/main" id="{04388434-9949-479C-A9C3-67A953F6A939}"/>
              </a:ext>
            </a:extLst>
          </p:cNvPr>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6489D9C7-5DC6-4263-87FF-7C99F6FB63C3}" type="datetime1">
              <a:rPr lang="zh-CN" altLang="en-US" smtClean="0"/>
              <a:pPr/>
              <a:t>2023/5/29</a:t>
            </a:fld>
            <a:endParaRPr lang="zh-CN" altLang="en-US"/>
          </a:p>
        </p:txBody>
      </p:sp>
      <p:sp>
        <p:nvSpPr>
          <p:cNvPr id="9" name="页脚占位符 4">
            <a:extLst>
              <a:ext uri="{FF2B5EF4-FFF2-40B4-BE49-F238E27FC236}">
                <a16:creationId xmlns:a16="http://schemas.microsoft.com/office/drawing/2014/main" id="{50A5656E-7A33-4865-A262-1F96263BAA16}"/>
              </a:ext>
            </a:extLst>
          </p:cNvPr>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US" altLang="zh-CN" dirty="0"/>
              <a:t>www.islide.cc</a:t>
            </a:r>
            <a:endParaRPr lang="zh-CN" altLang="en-US" dirty="0"/>
          </a:p>
        </p:txBody>
      </p:sp>
      <p:sp>
        <p:nvSpPr>
          <p:cNvPr id="10" name="灯片编号占位符 5">
            <a:extLst>
              <a:ext uri="{FF2B5EF4-FFF2-40B4-BE49-F238E27FC236}">
                <a16:creationId xmlns:a16="http://schemas.microsoft.com/office/drawing/2014/main" id="{5BF52F79-380E-4278-8B67-588AFE5840F9}"/>
              </a:ext>
            </a:extLst>
          </p:cNvPr>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3784027784"/>
      </p:ext>
    </p:extLst>
  </p:cSld>
  <p:clrMap bg1="lt1" tx1="dk1" bg2="lt2" tx2="dk2" accent1="accent1" accent2="accent2" accent3="accent3" accent4="accent4" accent5="accent5" accent6="accent6" hlink="hlink" folHlink="folHlink"/>
  <p:sldLayoutIdLst>
    <p:sldLayoutId id="2147483660" r:id="rId1"/>
    <p:sldLayoutId id="2147483651" r:id="rId2"/>
    <p:sldLayoutId id="2147483669" r:id="rId3"/>
    <p:sldLayoutId id="2147483662" r:id="rId4"/>
    <p:sldLayoutId id="2147483655" r:id="rId5"/>
    <p:sldLayoutId id="2147483661" r:id="rId6"/>
  </p:sldLayoutIdLst>
  <p:hf hdr="0" dt="0"/>
  <p:txStyles>
    <p:title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22" userDrawn="1">
          <p15:clr>
            <a:srgbClr val="F26B43"/>
          </p15:clr>
        </p15:guide>
        <p15:guide id="2" pos="7257" userDrawn="1">
          <p15:clr>
            <a:srgbClr val="F26B43"/>
          </p15:clr>
        </p15:guide>
        <p15:guide id="3" orient="horz" pos="648" userDrawn="1">
          <p15:clr>
            <a:srgbClr val="F26B43"/>
          </p15:clr>
        </p15:guide>
        <p15:guide id="4" orient="horz" pos="712" userDrawn="1">
          <p15:clr>
            <a:srgbClr val="F26B43"/>
          </p15:clr>
        </p15:guide>
        <p15:guide id="5" orient="horz" pos="3931" userDrawn="1">
          <p15:clr>
            <a:srgbClr val="F26B43"/>
          </p15:clr>
        </p15:guide>
        <p15:guide id="6" orient="horz" pos="386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themeOverride" Target="../theme/themeOverride1.xml"/><Relationship Id="rId5" Type="http://schemas.openxmlformats.org/officeDocument/2006/relationships/image" Target="../media/image2.emf"/><Relationship Id="rId4" Type="http://schemas.openxmlformats.org/officeDocument/2006/relationships/oleObject" Target="../embeddings/oleObject1.bin"/></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11.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xml"/><Relationship Id="rId1" Type="http://schemas.openxmlformats.org/officeDocument/2006/relationships/themeOverride" Target="../theme/themeOverride5.xml"/></Relationships>
</file>

<file path=ppt/slides/_rels/slide12.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slideLayout" Target="../slideLayouts/slideLayout4.xml"/><Relationship Id="rId1" Type="http://schemas.openxmlformats.org/officeDocument/2006/relationships/tags" Target="../tags/tag13.xml"/></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14.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5.xml"/><Relationship Id="rId1" Type="http://schemas.openxmlformats.org/officeDocument/2006/relationships/themeOverride" Target="../theme/themeOverride6.xml"/><Relationship Id="rId5" Type="http://schemas.openxmlformats.org/officeDocument/2006/relationships/image" Target="../media/image2.emf"/><Relationship Id="rId4" Type="http://schemas.openxmlformats.org/officeDocument/2006/relationships/oleObject" Target="../embeddings/oleObject2.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xml"/><Relationship Id="rId1" Type="http://schemas.openxmlformats.org/officeDocument/2006/relationships/themeOverride" Target="../theme/themeOverride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themeOverride" Target="../theme/themeOverride3.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5.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themeOverride" Target="../theme/themeOverride4.xml"/></Relationships>
</file>

<file path=ppt/slides/_rels/slide6.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Layout" Target="../slideLayouts/slideLayout4.xml"/><Relationship Id="rId1" Type="http://schemas.openxmlformats.org/officeDocument/2006/relationships/tags" Target="../tags/tag7.xml"/></Relationships>
</file>

<file path=ppt/slides/_rels/slide7.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slideLayout" Target="../slideLayouts/slideLayout4.xml"/><Relationship Id="rId1" Type="http://schemas.openxmlformats.org/officeDocument/2006/relationships/tags" Target="../tags/tag8.xml"/></Relationships>
</file>

<file path=ppt/slides/_rels/slide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Layout" Target="../slideLayouts/slideLayout4.xml"/><Relationship Id="rId1" Type="http://schemas.openxmlformats.org/officeDocument/2006/relationships/tags" Target="../tags/tag9.xml"/></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3C326D0B-7DAB-41B6-8030-2E4A18CC949B}"/>
              </a:ext>
            </a:extLst>
          </p:cNvPr>
          <p:cNvGraphicFramePr>
            <a:graphicFrameLocks noChangeAspect="1"/>
          </p:cNvGraphicFramePr>
          <p:nvPr>
            <p:extLst>
              <p:ext uri="{D42A27DB-BD31-4B8C-83A1-F6EECF244321}">
                <p14:modId xmlns:p14="http://schemas.microsoft.com/office/powerpoint/2010/main" val="2584086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对象 2" hidden="1">
                        <a:extLst>
                          <a:ext uri="{FF2B5EF4-FFF2-40B4-BE49-F238E27FC236}">
                            <a16:creationId xmlns:a16="http://schemas.microsoft.com/office/drawing/2014/main" id="{3C326D0B-7DAB-41B6-8030-2E4A18CC94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4" name="标题 3"/>
          <p:cNvSpPr>
            <a:spLocks noGrp="1"/>
          </p:cNvSpPr>
          <p:nvPr>
            <p:ph type="ctrTitle"/>
          </p:nvPr>
        </p:nvSpPr>
        <p:spPr/>
        <p:txBody>
          <a:bodyPr/>
          <a:lstStyle/>
          <a:p>
            <a:r>
              <a:rPr lang="en-US" altLang="zh-CN" dirty="0"/>
              <a:t>Text-to-Speech based on pyttsx3</a:t>
            </a:r>
            <a:endParaRPr lang="zh-CN" altLang="en-US" dirty="0"/>
          </a:p>
        </p:txBody>
      </p:sp>
      <p:sp>
        <p:nvSpPr>
          <p:cNvPr id="6" name="文本占位符 5"/>
          <p:cNvSpPr>
            <a:spLocks noGrp="1"/>
          </p:cNvSpPr>
          <p:nvPr>
            <p:ph type="body" sz="quarter" idx="10"/>
          </p:nvPr>
        </p:nvSpPr>
        <p:spPr/>
        <p:txBody>
          <a:bodyPr/>
          <a:lstStyle/>
          <a:p>
            <a:r>
              <a:rPr lang="zh-CN" altLang="en-US" dirty="0"/>
              <a:t>廖子涵 耿沛言 张旭东</a:t>
            </a:r>
            <a:endParaRPr lang="en-US" altLang="zh-CN" dirty="0"/>
          </a:p>
        </p:txBody>
      </p:sp>
      <p:sp>
        <p:nvSpPr>
          <p:cNvPr id="7" name="文本占位符 6"/>
          <p:cNvSpPr>
            <a:spLocks noGrp="1"/>
          </p:cNvSpPr>
          <p:nvPr>
            <p:ph type="body" sz="quarter" idx="11"/>
          </p:nvPr>
        </p:nvSpPr>
        <p:spPr/>
        <p:txBody>
          <a:bodyPr/>
          <a:lstStyle/>
          <a:p>
            <a:r>
              <a:rPr lang="en-US" altLang="en-US" dirty="0"/>
              <a:t>2023.05.30</a:t>
            </a:r>
          </a:p>
        </p:txBody>
      </p:sp>
    </p:spTree>
    <p:custDataLst>
      <p:tags r:id="rId2"/>
    </p:custDataLst>
    <p:extLst>
      <p:ext uri="{BB962C8B-B14F-4D97-AF65-F5344CB8AC3E}">
        <p14:creationId xmlns:p14="http://schemas.microsoft.com/office/powerpoint/2010/main" val="22717418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72A9DE9-78BB-FD08-B358-2F7EBDC93D3E}"/>
              </a:ext>
            </a:extLst>
          </p:cNvPr>
          <p:cNvSpPr>
            <a:spLocks noGrp="1"/>
          </p:cNvSpPr>
          <p:nvPr>
            <p:ph type="title"/>
          </p:nvPr>
        </p:nvSpPr>
        <p:spPr/>
        <p:txBody>
          <a:bodyPr/>
          <a:lstStyle/>
          <a:p>
            <a:r>
              <a:rPr lang="en-US" altLang="zh-CN" dirty="0"/>
              <a:t>Introduction to pyttsx3</a:t>
            </a:r>
            <a:endParaRPr lang="zh-CN" altLang="en-US" dirty="0"/>
          </a:p>
        </p:txBody>
      </p:sp>
      <p:sp>
        <p:nvSpPr>
          <p:cNvPr id="4" name="灯片编号占位符 3">
            <a:extLst>
              <a:ext uri="{FF2B5EF4-FFF2-40B4-BE49-F238E27FC236}">
                <a16:creationId xmlns:a16="http://schemas.microsoft.com/office/drawing/2014/main" id="{0622AAF5-4321-F558-5EE0-49134D0C965B}"/>
              </a:ext>
            </a:extLst>
          </p:cNvPr>
          <p:cNvSpPr>
            <a:spLocks noGrp="1"/>
          </p:cNvSpPr>
          <p:nvPr>
            <p:ph type="sldNum" sz="quarter" idx="12"/>
          </p:nvPr>
        </p:nvSpPr>
        <p:spPr/>
        <p:txBody>
          <a:bodyPr/>
          <a:lstStyle/>
          <a:p>
            <a:fld id="{5DD3DB80-B894-403A-B48E-6FDC1A72010E}" type="slidenum">
              <a:rPr lang="zh-CN" altLang="en-US" smtClean="0"/>
              <a:pPr/>
              <a:t>10</a:t>
            </a:fld>
            <a:endParaRPr lang="zh-CN" altLang="en-US"/>
          </a:p>
        </p:txBody>
      </p:sp>
      <p:grpSp>
        <p:nvGrpSpPr>
          <p:cNvPr id="5" name="组合 4">
            <a:extLst>
              <a:ext uri="{FF2B5EF4-FFF2-40B4-BE49-F238E27FC236}">
                <a16:creationId xmlns:a16="http://schemas.microsoft.com/office/drawing/2014/main" id="{CD20F46F-864B-260D-BC6A-2D13135136CF}"/>
              </a:ext>
            </a:extLst>
          </p:cNvPr>
          <p:cNvGrpSpPr/>
          <p:nvPr/>
        </p:nvGrpSpPr>
        <p:grpSpPr>
          <a:xfrm>
            <a:off x="858703" y="1383593"/>
            <a:ext cx="10030597" cy="4624539"/>
            <a:chOff x="830943" y="1688301"/>
            <a:chExt cx="10030597" cy="4624539"/>
          </a:xfrm>
        </p:grpSpPr>
        <p:grpSp>
          <p:nvGrpSpPr>
            <p:cNvPr id="6" name="îṧḻiďe">
              <a:extLst>
                <a:ext uri="{FF2B5EF4-FFF2-40B4-BE49-F238E27FC236}">
                  <a16:creationId xmlns:a16="http://schemas.microsoft.com/office/drawing/2014/main" id="{4982CCBB-75A2-F41E-92F1-487C404FF1D0}"/>
                </a:ext>
              </a:extLst>
            </p:cNvPr>
            <p:cNvGrpSpPr/>
            <p:nvPr/>
          </p:nvGrpSpPr>
          <p:grpSpPr>
            <a:xfrm>
              <a:off x="830943" y="1688301"/>
              <a:ext cx="10030597" cy="4624539"/>
              <a:chOff x="660400" y="1688301"/>
              <a:chExt cx="10030597" cy="4624539"/>
            </a:xfrm>
          </p:grpSpPr>
          <p:grpSp>
            <p:nvGrpSpPr>
              <p:cNvPr id="8" name="iṡḷíḑé">
                <a:extLst>
                  <a:ext uri="{FF2B5EF4-FFF2-40B4-BE49-F238E27FC236}">
                    <a16:creationId xmlns:a16="http://schemas.microsoft.com/office/drawing/2014/main" id="{0AB7344C-CEBA-3C9A-195F-49DC15301F9C}"/>
                  </a:ext>
                </a:extLst>
              </p:cNvPr>
              <p:cNvGrpSpPr/>
              <p:nvPr/>
            </p:nvGrpSpPr>
            <p:grpSpPr>
              <a:xfrm>
                <a:off x="6221199" y="1850420"/>
                <a:ext cx="4469798" cy="4357417"/>
                <a:chOff x="6221199" y="1850420"/>
                <a:chExt cx="4469798" cy="4357417"/>
              </a:xfrm>
            </p:grpSpPr>
            <p:sp>
              <p:nvSpPr>
                <p:cNvPr id="35" name="í$1ïḓè">
                  <a:extLst>
                    <a:ext uri="{FF2B5EF4-FFF2-40B4-BE49-F238E27FC236}">
                      <a16:creationId xmlns:a16="http://schemas.microsoft.com/office/drawing/2014/main" id="{166DFD3E-40A3-3111-D40B-0CCE9463F3B3}"/>
                    </a:ext>
                  </a:extLst>
                </p:cNvPr>
                <p:cNvSpPr/>
                <p:nvPr/>
              </p:nvSpPr>
              <p:spPr>
                <a:xfrm>
                  <a:off x="6971010" y="2194608"/>
                  <a:ext cx="3719987" cy="3719985"/>
                </a:xfrm>
                <a:prstGeom prst="donut">
                  <a:avLst>
                    <a:gd name="adj" fmla="val 771"/>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36" name="îṥ1ïḑé">
                  <a:extLst>
                    <a:ext uri="{FF2B5EF4-FFF2-40B4-BE49-F238E27FC236}">
                      <a16:creationId xmlns:a16="http://schemas.microsoft.com/office/drawing/2014/main" id="{EB9696F3-16EB-7CDB-5130-A152647169E4}"/>
                    </a:ext>
                  </a:extLst>
                </p:cNvPr>
                <p:cNvSpPr/>
                <p:nvPr/>
              </p:nvSpPr>
              <p:spPr>
                <a:xfrm rot="659" flipH="1">
                  <a:off x="7779831" y="3003432"/>
                  <a:ext cx="2102340" cy="21023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b="1" dirty="0">
                      <a:solidFill>
                        <a:srgbClr val="FFFFFF"/>
                      </a:solidFill>
                    </a:rPr>
                    <a:t>pyttsx3</a:t>
                  </a:r>
                </a:p>
              </p:txBody>
            </p:sp>
            <p:sp>
              <p:nvSpPr>
                <p:cNvPr id="37" name="îSḷïḓé">
                  <a:extLst>
                    <a:ext uri="{FF2B5EF4-FFF2-40B4-BE49-F238E27FC236}">
                      <a16:creationId xmlns:a16="http://schemas.microsoft.com/office/drawing/2014/main" id="{2E31C60B-A606-C037-1CDC-CDCD071BA161}"/>
                    </a:ext>
                  </a:extLst>
                </p:cNvPr>
                <p:cNvSpPr/>
                <p:nvPr/>
              </p:nvSpPr>
              <p:spPr>
                <a:xfrm>
                  <a:off x="7165561" y="1850420"/>
                  <a:ext cx="1262376" cy="126237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200" b="1" dirty="0">
                      <a:solidFill>
                        <a:srgbClr val="FFFFFF"/>
                      </a:solidFill>
                    </a:rPr>
                    <a:t>Cross-platform support</a:t>
                  </a:r>
                </a:p>
              </p:txBody>
            </p:sp>
            <p:sp>
              <p:nvSpPr>
                <p:cNvPr id="38" name="íśḷíďè">
                  <a:extLst>
                    <a:ext uri="{FF2B5EF4-FFF2-40B4-BE49-F238E27FC236}">
                      <a16:creationId xmlns:a16="http://schemas.microsoft.com/office/drawing/2014/main" id="{CFF553EF-5B7D-2A06-E82B-BF57D8CD3FC9}"/>
                    </a:ext>
                  </a:extLst>
                </p:cNvPr>
                <p:cNvSpPr/>
                <p:nvPr/>
              </p:nvSpPr>
              <p:spPr>
                <a:xfrm>
                  <a:off x="9267979" y="1867792"/>
                  <a:ext cx="1364206" cy="126237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200" b="1" dirty="0">
                      <a:solidFill>
                        <a:srgbClr val="FFFFFF"/>
                      </a:solidFill>
                    </a:rPr>
                    <a:t>Advanced function</a:t>
                  </a:r>
                </a:p>
              </p:txBody>
            </p:sp>
            <p:sp>
              <p:nvSpPr>
                <p:cNvPr id="39" name="íšḷïdé">
                  <a:extLst>
                    <a:ext uri="{FF2B5EF4-FFF2-40B4-BE49-F238E27FC236}">
                      <a16:creationId xmlns:a16="http://schemas.microsoft.com/office/drawing/2014/main" id="{EBB03C30-B0A4-D1CC-B463-CE4AA108C808}"/>
                    </a:ext>
                  </a:extLst>
                </p:cNvPr>
                <p:cNvSpPr/>
                <p:nvPr/>
              </p:nvSpPr>
              <p:spPr>
                <a:xfrm>
                  <a:off x="9127152" y="4945461"/>
                  <a:ext cx="1262376" cy="126237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200" b="1" dirty="0">
                      <a:solidFill>
                        <a:srgbClr val="FFFFFF"/>
                      </a:solidFill>
                    </a:rPr>
                    <a:t>Event-driven architecture</a:t>
                  </a:r>
                </a:p>
              </p:txBody>
            </p:sp>
            <p:sp>
              <p:nvSpPr>
                <p:cNvPr id="40" name="î$1iḋê">
                  <a:extLst>
                    <a:ext uri="{FF2B5EF4-FFF2-40B4-BE49-F238E27FC236}">
                      <a16:creationId xmlns:a16="http://schemas.microsoft.com/office/drawing/2014/main" id="{2F851B7F-2738-E3C6-4A6D-C104BD8B026E}"/>
                    </a:ext>
                  </a:extLst>
                </p:cNvPr>
                <p:cNvSpPr/>
                <p:nvPr/>
              </p:nvSpPr>
              <p:spPr>
                <a:xfrm>
                  <a:off x="7131652" y="4884301"/>
                  <a:ext cx="1262376" cy="126237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200" b="1" dirty="0">
                      <a:solidFill>
                        <a:srgbClr val="FFFFFF"/>
                      </a:solidFill>
                    </a:rPr>
                    <a:t>Customizable voice properties</a:t>
                  </a:r>
                </a:p>
              </p:txBody>
            </p:sp>
            <p:sp>
              <p:nvSpPr>
                <p:cNvPr id="41" name="îs1íḑè">
                  <a:extLst>
                    <a:ext uri="{FF2B5EF4-FFF2-40B4-BE49-F238E27FC236}">
                      <a16:creationId xmlns:a16="http://schemas.microsoft.com/office/drawing/2014/main" id="{3BFA8748-105A-2AC6-07F9-4379D0A5840F}"/>
                    </a:ext>
                  </a:extLst>
                </p:cNvPr>
                <p:cNvSpPr/>
                <p:nvPr/>
              </p:nvSpPr>
              <p:spPr>
                <a:xfrm rot="10800000" flipH="1" flipV="1">
                  <a:off x="6221199" y="3411756"/>
                  <a:ext cx="1262376" cy="126237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200" b="1" dirty="0">
                      <a:solidFill>
                        <a:srgbClr val="FFFFFF"/>
                      </a:solidFill>
                    </a:rPr>
                    <a:t>Multilanguage support</a:t>
                  </a:r>
                </a:p>
              </p:txBody>
            </p:sp>
          </p:grpSp>
          <p:grpSp>
            <p:nvGrpSpPr>
              <p:cNvPr id="9" name="ïṣlíḍê">
                <a:extLst>
                  <a:ext uri="{FF2B5EF4-FFF2-40B4-BE49-F238E27FC236}">
                    <a16:creationId xmlns:a16="http://schemas.microsoft.com/office/drawing/2014/main" id="{1CDCBE26-9FC2-A432-AF82-6B33077F16F2}"/>
                  </a:ext>
                </a:extLst>
              </p:cNvPr>
              <p:cNvGrpSpPr/>
              <p:nvPr/>
            </p:nvGrpSpPr>
            <p:grpSpPr>
              <a:xfrm>
                <a:off x="660400" y="1688301"/>
                <a:ext cx="5265054" cy="4624539"/>
                <a:chOff x="660400" y="1614397"/>
                <a:chExt cx="5265054" cy="4624539"/>
              </a:xfrm>
            </p:grpSpPr>
            <p:grpSp>
              <p:nvGrpSpPr>
                <p:cNvPr id="10" name="í$ļide">
                  <a:extLst>
                    <a:ext uri="{FF2B5EF4-FFF2-40B4-BE49-F238E27FC236}">
                      <a16:creationId xmlns:a16="http://schemas.microsoft.com/office/drawing/2014/main" id="{2F98B4C4-9488-17D3-1ED1-3E0AD5075F82}"/>
                    </a:ext>
                  </a:extLst>
                </p:cNvPr>
                <p:cNvGrpSpPr/>
                <p:nvPr/>
              </p:nvGrpSpPr>
              <p:grpSpPr>
                <a:xfrm>
                  <a:off x="660400" y="1614397"/>
                  <a:ext cx="4338128" cy="872338"/>
                  <a:chOff x="1310730" y="2073478"/>
                  <a:chExt cx="4338128" cy="872338"/>
                </a:xfrm>
              </p:grpSpPr>
              <p:grpSp>
                <p:nvGrpSpPr>
                  <p:cNvPr id="31" name="ïšlïḍê">
                    <a:extLst>
                      <a:ext uri="{FF2B5EF4-FFF2-40B4-BE49-F238E27FC236}">
                        <a16:creationId xmlns:a16="http://schemas.microsoft.com/office/drawing/2014/main" id="{39FE9F46-04ED-B19F-8DC5-DAFB4F326D19}"/>
                      </a:ext>
                    </a:extLst>
                  </p:cNvPr>
                  <p:cNvGrpSpPr>
                    <a:grpSpLocks/>
                  </p:cNvGrpSpPr>
                  <p:nvPr/>
                </p:nvGrpSpPr>
                <p:grpSpPr>
                  <a:xfrm>
                    <a:off x="1863356" y="2073478"/>
                    <a:ext cx="3785502" cy="872338"/>
                    <a:chOff x="7119257" y="2434918"/>
                    <a:chExt cx="4495009" cy="858261"/>
                  </a:xfrm>
                  <a:noFill/>
                </p:grpSpPr>
                <p:sp>
                  <p:nvSpPr>
                    <p:cNvPr id="33" name="ïšľíḍè">
                      <a:extLst>
                        <a:ext uri="{FF2B5EF4-FFF2-40B4-BE49-F238E27FC236}">
                          <a16:creationId xmlns:a16="http://schemas.microsoft.com/office/drawing/2014/main" id="{3610DD08-F895-84BC-693F-ADE7242E84A7}"/>
                        </a:ext>
                      </a:extLst>
                    </p:cNvPr>
                    <p:cNvSpPr/>
                    <p:nvPr/>
                  </p:nvSpPr>
                  <p:spPr>
                    <a:xfrm>
                      <a:off x="7119257" y="2434918"/>
                      <a:ext cx="3192662" cy="5753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r>
                        <a:rPr kumimoji="1" lang="en-US" altLang="zh-CN" sz="1600" b="1" dirty="0">
                          <a:solidFill>
                            <a:schemeClr val="tx1"/>
                          </a:solidFill>
                        </a:rPr>
                        <a:t>Cross-platform support</a:t>
                      </a:r>
                    </a:p>
                    <a:p>
                      <a:endParaRPr kumimoji="1" lang="en-US" altLang="zh-CN" sz="1600" b="1" dirty="0">
                        <a:solidFill>
                          <a:schemeClr val="tx1"/>
                        </a:solidFill>
                      </a:endParaRPr>
                    </a:p>
                  </p:txBody>
                </p:sp>
                <p:sp>
                  <p:nvSpPr>
                    <p:cNvPr id="34" name="îṣḷïḍé">
                      <a:extLst>
                        <a:ext uri="{FF2B5EF4-FFF2-40B4-BE49-F238E27FC236}">
                          <a16:creationId xmlns:a16="http://schemas.microsoft.com/office/drawing/2014/main" id="{66B2B5B8-8B78-3D2A-9210-1112BE3D593C}"/>
                        </a:ext>
                      </a:extLst>
                    </p:cNvPr>
                    <p:cNvSpPr/>
                    <p:nvPr/>
                  </p:nvSpPr>
                  <p:spPr>
                    <a:xfrm>
                      <a:off x="7119257" y="2754492"/>
                      <a:ext cx="4495009" cy="5386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nSpc>
                          <a:spcPct val="130000"/>
                        </a:lnSpc>
                      </a:pPr>
                      <a:r>
                        <a:rPr kumimoji="1" lang="en-US" altLang="zh-CN" sz="1200" dirty="0">
                          <a:solidFill>
                            <a:schemeClr val="tx1"/>
                          </a:solidFill>
                        </a:rPr>
                        <a:t>pyttsx3 runs on multiple operating systems, including Windows, Mac, and Linux</a:t>
                      </a:r>
                    </a:p>
                  </p:txBody>
                </p:sp>
              </p:grpSp>
              <p:sp>
                <p:nvSpPr>
                  <p:cNvPr id="32" name="îšḷíḑè">
                    <a:extLst>
                      <a:ext uri="{FF2B5EF4-FFF2-40B4-BE49-F238E27FC236}">
                        <a16:creationId xmlns:a16="http://schemas.microsoft.com/office/drawing/2014/main" id="{D1F015F2-40DB-5B7E-9546-9FF79D700BAC}"/>
                      </a:ext>
                    </a:extLst>
                  </p:cNvPr>
                  <p:cNvSpPr txBox="1"/>
                  <p:nvPr/>
                </p:nvSpPr>
                <p:spPr>
                  <a:xfrm>
                    <a:off x="1310730" y="2138743"/>
                    <a:ext cx="480905" cy="480905"/>
                  </a:xfrm>
                  <a:prstGeom prst="roundRect">
                    <a:avLst>
                      <a:gd name="adj" fmla="val 50000"/>
                    </a:avLst>
                  </a:prstGeom>
                  <a:solidFill>
                    <a:schemeClr val="accent1"/>
                  </a:solidFill>
                </p:spPr>
                <p:txBody>
                  <a:bodyPr wrap="none" lIns="91440" tIns="45720" rIns="91440" bIns="45720" rtlCol="0" anchor="ctr" anchorCtr="0">
                    <a:noAutofit/>
                  </a:bodyPr>
                  <a:lstStyle/>
                  <a:p>
                    <a:pPr algn="ctr"/>
                    <a:r>
                      <a:rPr kumimoji="1" lang="en-US" altLang="zh-CN" sz="2000" b="1" dirty="0">
                        <a:solidFill>
                          <a:srgbClr val="FFFFFF"/>
                        </a:solidFill>
                      </a:rPr>
                      <a:t>01</a:t>
                    </a:r>
                    <a:endParaRPr kumimoji="1" lang="zh-CN" altLang="en-US" sz="2000" b="1" dirty="0">
                      <a:solidFill>
                        <a:srgbClr val="FFFFFF"/>
                      </a:solidFill>
                    </a:endParaRPr>
                  </a:p>
                </p:txBody>
              </p:sp>
            </p:grpSp>
            <p:grpSp>
              <p:nvGrpSpPr>
                <p:cNvPr id="11" name="isľîḍê">
                  <a:extLst>
                    <a:ext uri="{FF2B5EF4-FFF2-40B4-BE49-F238E27FC236}">
                      <a16:creationId xmlns:a16="http://schemas.microsoft.com/office/drawing/2014/main" id="{6A33EBE2-A9C2-A5AC-283D-7B1CAF02B310}"/>
                    </a:ext>
                  </a:extLst>
                </p:cNvPr>
                <p:cNvGrpSpPr/>
                <p:nvPr/>
              </p:nvGrpSpPr>
              <p:grpSpPr>
                <a:xfrm>
                  <a:off x="667526" y="2624838"/>
                  <a:ext cx="4713628" cy="799943"/>
                  <a:chOff x="1317856" y="2969149"/>
                  <a:chExt cx="4713628" cy="799943"/>
                </a:xfrm>
              </p:grpSpPr>
              <p:grpSp>
                <p:nvGrpSpPr>
                  <p:cNvPr id="27" name="ïṡ1ïḋè">
                    <a:extLst>
                      <a:ext uri="{FF2B5EF4-FFF2-40B4-BE49-F238E27FC236}">
                        <a16:creationId xmlns:a16="http://schemas.microsoft.com/office/drawing/2014/main" id="{0543D462-2393-3F7C-01C4-6BCFEB4A40C1}"/>
                      </a:ext>
                    </a:extLst>
                  </p:cNvPr>
                  <p:cNvGrpSpPr>
                    <a:grpSpLocks/>
                  </p:cNvGrpSpPr>
                  <p:nvPr/>
                </p:nvGrpSpPr>
                <p:grpSpPr>
                  <a:xfrm>
                    <a:off x="1863355" y="3005192"/>
                    <a:ext cx="4168129" cy="763900"/>
                    <a:chOff x="7119256" y="2541605"/>
                    <a:chExt cx="4949351" cy="751574"/>
                  </a:xfrm>
                  <a:noFill/>
                </p:grpSpPr>
                <p:sp>
                  <p:nvSpPr>
                    <p:cNvPr id="29" name="îṧḷiḓé">
                      <a:extLst>
                        <a:ext uri="{FF2B5EF4-FFF2-40B4-BE49-F238E27FC236}">
                          <a16:creationId xmlns:a16="http://schemas.microsoft.com/office/drawing/2014/main" id="{504ABF82-8040-427D-C597-3C081AAE42F0}"/>
                        </a:ext>
                      </a:extLst>
                    </p:cNvPr>
                    <p:cNvSpPr/>
                    <p:nvPr/>
                  </p:nvSpPr>
                  <p:spPr>
                    <a:xfrm>
                      <a:off x="7119257" y="2541605"/>
                      <a:ext cx="3277826" cy="5753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r>
                        <a:rPr kumimoji="1" lang="en-US" altLang="zh-CN" sz="1600" b="1" dirty="0">
                          <a:solidFill>
                            <a:schemeClr val="tx1"/>
                          </a:solidFill>
                        </a:rPr>
                        <a:t>Multilanguage support</a:t>
                      </a:r>
                    </a:p>
                    <a:p>
                      <a:endParaRPr kumimoji="1" lang="en-US" altLang="zh-CN" sz="1600" b="1" dirty="0">
                        <a:solidFill>
                          <a:schemeClr val="tx1"/>
                        </a:solidFill>
                      </a:endParaRPr>
                    </a:p>
                  </p:txBody>
                </p:sp>
                <p:sp>
                  <p:nvSpPr>
                    <p:cNvPr id="30" name="iś1ïḓê">
                      <a:extLst>
                        <a:ext uri="{FF2B5EF4-FFF2-40B4-BE49-F238E27FC236}">
                          <a16:creationId xmlns:a16="http://schemas.microsoft.com/office/drawing/2014/main" id="{C7CCD75E-830D-4254-3EAC-405EA3C8FDA7}"/>
                        </a:ext>
                      </a:extLst>
                    </p:cNvPr>
                    <p:cNvSpPr/>
                    <p:nvPr/>
                  </p:nvSpPr>
                  <p:spPr>
                    <a:xfrm>
                      <a:off x="7119256" y="2754492"/>
                      <a:ext cx="4949351" cy="5386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nSpc>
                          <a:spcPct val="130000"/>
                        </a:lnSpc>
                      </a:pPr>
                      <a:r>
                        <a:rPr kumimoji="1" lang="en-US" altLang="zh-CN" sz="1200" dirty="0">
                          <a:solidFill>
                            <a:schemeClr val="tx1"/>
                          </a:solidFill>
                        </a:rPr>
                        <a:t>pyttsx3 supports speech synthesis in a variety of languages</a:t>
                      </a:r>
                    </a:p>
                  </p:txBody>
                </p:sp>
              </p:grpSp>
              <p:sp>
                <p:nvSpPr>
                  <p:cNvPr id="28" name="iṡḷïḑe">
                    <a:extLst>
                      <a:ext uri="{FF2B5EF4-FFF2-40B4-BE49-F238E27FC236}">
                        <a16:creationId xmlns:a16="http://schemas.microsoft.com/office/drawing/2014/main" id="{D4D9BC50-260A-4D34-1E86-3D01C34DA1D1}"/>
                      </a:ext>
                    </a:extLst>
                  </p:cNvPr>
                  <p:cNvSpPr txBox="1"/>
                  <p:nvPr/>
                </p:nvSpPr>
                <p:spPr>
                  <a:xfrm>
                    <a:off x="1317856" y="2969149"/>
                    <a:ext cx="473780" cy="473780"/>
                  </a:xfrm>
                  <a:prstGeom prst="roundRect">
                    <a:avLst>
                      <a:gd name="adj" fmla="val 50000"/>
                    </a:avLst>
                  </a:prstGeom>
                  <a:solidFill>
                    <a:schemeClr val="tx2"/>
                  </a:solidFill>
                </p:spPr>
                <p:txBody>
                  <a:bodyPr wrap="none" lIns="91440" tIns="45720" rIns="91440" bIns="45720" rtlCol="0" anchor="ctr" anchorCtr="0">
                    <a:noAutofit/>
                  </a:bodyPr>
                  <a:lstStyle/>
                  <a:p>
                    <a:pPr algn="ctr"/>
                    <a:r>
                      <a:rPr kumimoji="1" lang="en-US" altLang="zh-CN" sz="2000" b="1" dirty="0">
                        <a:solidFill>
                          <a:srgbClr val="FFFFFF"/>
                        </a:solidFill>
                      </a:rPr>
                      <a:t>02</a:t>
                    </a:r>
                    <a:endParaRPr kumimoji="1" lang="zh-CN" altLang="en-US" sz="2000" b="1" dirty="0">
                      <a:solidFill>
                        <a:srgbClr val="FFFFFF"/>
                      </a:solidFill>
                    </a:endParaRPr>
                  </a:p>
                </p:txBody>
              </p:sp>
            </p:grpSp>
            <p:grpSp>
              <p:nvGrpSpPr>
                <p:cNvPr id="12" name="íṩlïḓè">
                  <a:extLst>
                    <a:ext uri="{FF2B5EF4-FFF2-40B4-BE49-F238E27FC236}">
                      <a16:creationId xmlns:a16="http://schemas.microsoft.com/office/drawing/2014/main" id="{6C8DF040-D5F2-2D12-BE7A-C8A89472DEAD}"/>
                    </a:ext>
                  </a:extLst>
                </p:cNvPr>
                <p:cNvGrpSpPr/>
                <p:nvPr/>
              </p:nvGrpSpPr>
              <p:grpSpPr>
                <a:xfrm>
                  <a:off x="667526" y="3472939"/>
                  <a:ext cx="5046516" cy="889896"/>
                  <a:chOff x="1317856" y="3702480"/>
                  <a:chExt cx="5046516" cy="889896"/>
                </a:xfrm>
              </p:grpSpPr>
              <p:grpSp>
                <p:nvGrpSpPr>
                  <p:cNvPr id="23" name="íSľîḑe">
                    <a:extLst>
                      <a:ext uri="{FF2B5EF4-FFF2-40B4-BE49-F238E27FC236}">
                        <a16:creationId xmlns:a16="http://schemas.microsoft.com/office/drawing/2014/main" id="{6AA1B697-1171-5C57-1373-85FC1279A50B}"/>
                      </a:ext>
                    </a:extLst>
                  </p:cNvPr>
                  <p:cNvGrpSpPr>
                    <a:grpSpLocks/>
                  </p:cNvGrpSpPr>
                  <p:nvPr/>
                </p:nvGrpSpPr>
                <p:grpSpPr>
                  <a:xfrm>
                    <a:off x="1863355" y="3702480"/>
                    <a:ext cx="4501017" cy="889896"/>
                    <a:chOff x="7119256" y="2417643"/>
                    <a:chExt cx="5344631" cy="875536"/>
                  </a:xfrm>
                  <a:noFill/>
                </p:grpSpPr>
                <p:sp>
                  <p:nvSpPr>
                    <p:cNvPr id="25" name="iŝlíḋé">
                      <a:extLst>
                        <a:ext uri="{FF2B5EF4-FFF2-40B4-BE49-F238E27FC236}">
                          <a16:creationId xmlns:a16="http://schemas.microsoft.com/office/drawing/2014/main" id="{DF65D731-D251-78C9-4475-737750832404}"/>
                        </a:ext>
                      </a:extLst>
                    </p:cNvPr>
                    <p:cNvSpPr/>
                    <p:nvPr/>
                  </p:nvSpPr>
                  <p:spPr>
                    <a:xfrm>
                      <a:off x="7119257" y="2417643"/>
                      <a:ext cx="3788093" cy="3330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r>
                        <a:rPr kumimoji="1" lang="en-US" altLang="zh-CN" sz="1600" b="1" dirty="0">
                          <a:solidFill>
                            <a:schemeClr val="tx1"/>
                          </a:solidFill>
                        </a:rPr>
                        <a:t>Customizable voice properties</a:t>
                      </a:r>
                    </a:p>
                  </p:txBody>
                </p:sp>
                <p:sp>
                  <p:nvSpPr>
                    <p:cNvPr id="26" name="ïṡ1iḍè">
                      <a:extLst>
                        <a:ext uri="{FF2B5EF4-FFF2-40B4-BE49-F238E27FC236}">
                          <a16:creationId xmlns:a16="http://schemas.microsoft.com/office/drawing/2014/main" id="{3C974E6D-B909-3B57-A1C6-33057730BA2E}"/>
                        </a:ext>
                      </a:extLst>
                    </p:cNvPr>
                    <p:cNvSpPr/>
                    <p:nvPr/>
                  </p:nvSpPr>
                  <p:spPr>
                    <a:xfrm>
                      <a:off x="7119256" y="2754492"/>
                      <a:ext cx="5344631" cy="5386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nSpc>
                          <a:spcPct val="130000"/>
                        </a:lnSpc>
                      </a:pPr>
                      <a:r>
                        <a:rPr kumimoji="1" lang="en-US" altLang="zh-CN" sz="1200" dirty="0">
                          <a:solidFill>
                            <a:schemeClr val="tx1"/>
                          </a:solidFill>
                        </a:rPr>
                        <a:t>pyttsx3 allows you to customize synthesized speech output by setting properties such as speed, pitch, volume, and speech</a:t>
                      </a:r>
                    </a:p>
                  </p:txBody>
                </p:sp>
              </p:grpSp>
              <p:sp>
                <p:nvSpPr>
                  <p:cNvPr id="24" name="isľîḑe">
                    <a:extLst>
                      <a:ext uri="{FF2B5EF4-FFF2-40B4-BE49-F238E27FC236}">
                        <a16:creationId xmlns:a16="http://schemas.microsoft.com/office/drawing/2014/main" id="{685C5A5E-14B7-7EA6-CB36-2B6F7A61DC42}"/>
                      </a:ext>
                    </a:extLst>
                  </p:cNvPr>
                  <p:cNvSpPr txBox="1"/>
                  <p:nvPr/>
                </p:nvSpPr>
                <p:spPr>
                  <a:xfrm>
                    <a:off x="1317856" y="3792429"/>
                    <a:ext cx="473780" cy="473780"/>
                  </a:xfrm>
                  <a:prstGeom prst="roundRect">
                    <a:avLst>
                      <a:gd name="adj" fmla="val 50000"/>
                    </a:avLst>
                  </a:prstGeom>
                  <a:solidFill>
                    <a:schemeClr val="accent1"/>
                  </a:solidFill>
                </p:spPr>
                <p:txBody>
                  <a:bodyPr wrap="none" lIns="91440" tIns="45720" rIns="91440" bIns="45720" rtlCol="0" anchor="ctr" anchorCtr="0">
                    <a:noAutofit/>
                  </a:bodyPr>
                  <a:lstStyle/>
                  <a:p>
                    <a:pPr algn="ctr"/>
                    <a:r>
                      <a:rPr kumimoji="1" lang="en-US" altLang="zh-CN" sz="2000" b="1" dirty="0">
                        <a:solidFill>
                          <a:srgbClr val="FFFFFF"/>
                        </a:solidFill>
                      </a:rPr>
                      <a:t>03</a:t>
                    </a:r>
                    <a:endParaRPr kumimoji="1" lang="zh-CN" altLang="en-US" sz="2000" b="1" dirty="0">
                      <a:solidFill>
                        <a:srgbClr val="FFFFFF"/>
                      </a:solidFill>
                    </a:endParaRPr>
                  </a:p>
                </p:txBody>
              </p:sp>
            </p:grpSp>
            <p:grpSp>
              <p:nvGrpSpPr>
                <p:cNvPr id="13" name="ïSḷïḍê">
                  <a:extLst>
                    <a:ext uri="{FF2B5EF4-FFF2-40B4-BE49-F238E27FC236}">
                      <a16:creationId xmlns:a16="http://schemas.microsoft.com/office/drawing/2014/main" id="{597DDCFA-8BFA-4C00-2082-36D5B70BD220}"/>
                    </a:ext>
                  </a:extLst>
                </p:cNvPr>
                <p:cNvGrpSpPr/>
                <p:nvPr/>
              </p:nvGrpSpPr>
              <p:grpSpPr>
                <a:xfrm>
                  <a:off x="667526" y="4410988"/>
                  <a:ext cx="4750776" cy="889896"/>
                  <a:chOff x="1317856" y="4525759"/>
                  <a:chExt cx="4750776" cy="889896"/>
                </a:xfrm>
              </p:grpSpPr>
              <p:grpSp>
                <p:nvGrpSpPr>
                  <p:cNvPr id="19" name="iṧ1íďé">
                    <a:extLst>
                      <a:ext uri="{FF2B5EF4-FFF2-40B4-BE49-F238E27FC236}">
                        <a16:creationId xmlns:a16="http://schemas.microsoft.com/office/drawing/2014/main" id="{5721EDE2-CFC3-5190-9AEA-7BA405BE9A84}"/>
                      </a:ext>
                    </a:extLst>
                  </p:cNvPr>
                  <p:cNvGrpSpPr>
                    <a:grpSpLocks/>
                  </p:cNvGrpSpPr>
                  <p:nvPr/>
                </p:nvGrpSpPr>
                <p:grpSpPr>
                  <a:xfrm>
                    <a:off x="1863356" y="4525759"/>
                    <a:ext cx="4205276" cy="889896"/>
                    <a:chOff x="7119257" y="2417643"/>
                    <a:chExt cx="4993460" cy="875536"/>
                  </a:xfrm>
                  <a:noFill/>
                </p:grpSpPr>
                <p:sp>
                  <p:nvSpPr>
                    <p:cNvPr id="21" name="iśḷiḓê">
                      <a:extLst>
                        <a:ext uri="{FF2B5EF4-FFF2-40B4-BE49-F238E27FC236}">
                          <a16:creationId xmlns:a16="http://schemas.microsoft.com/office/drawing/2014/main" id="{C1345AA3-4796-6B67-2AB9-74CDD453BB1F}"/>
                        </a:ext>
                      </a:extLst>
                    </p:cNvPr>
                    <p:cNvSpPr/>
                    <p:nvPr/>
                  </p:nvSpPr>
                  <p:spPr>
                    <a:xfrm>
                      <a:off x="7119257" y="2417643"/>
                      <a:ext cx="3412750" cy="3330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r>
                        <a:rPr kumimoji="1" lang="en-US" altLang="zh-CN" sz="1600" b="1" dirty="0">
                          <a:solidFill>
                            <a:schemeClr val="tx1"/>
                          </a:solidFill>
                        </a:rPr>
                        <a:t>Event-driven architecture</a:t>
                      </a:r>
                    </a:p>
                  </p:txBody>
                </p:sp>
                <p:sp>
                  <p:nvSpPr>
                    <p:cNvPr id="22" name="íṧliďe">
                      <a:extLst>
                        <a:ext uri="{FF2B5EF4-FFF2-40B4-BE49-F238E27FC236}">
                          <a16:creationId xmlns:a16="http://schemas.microsoft.com/office/drawing/2014/main" id="{DB40C33B-3A70-2192-50FB-A4B7805EA692}"/>
                        </a:ext>
                      </a:extLst>
                    </p:cNvPr>
                    <p:cNvSpPr/>
                    <p:nvPr/>
                  </p:nvSpPr>
                  <p:spPr>
                    <a:xfrm>
                      <a:off x="7119257" y="2754492"/>
                      <a:ext cx="4993460" cy="5386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nSpc>
                          <a:spcPct val="130000"/>
                        </a:lnSpc>
                      </a:pPr>
                      <a:r>
                        <a:rPr kumimoji="1" lang="en-US" altLang="zh-CN" sz="1200" dirty="0">
                          <a:solidFill>
                            <a:schemeClr val="tx1"/>
                          </a:solidFill>
                        </a:rPr>
                        <a:t>pyttsx3 uses an event-driven architecture to handle the various events of speech synthesis</a:t>
                      </a:r>
                    </a:p>
                  </p:txBody>
                </p:sp>
              </p:grpSp>
              <p:sp>
                <p:nvSpPr>
                  <p:cNvPr id="20" name="iṡ1iḓé">
                    <a:extLst>
                      <a:ext uri="{FF2B5EF4-FFF2-40B4-BE49-F238E27FC236}">
                        <a16:creationId xmlns:a16="http://schemas.microsoft.com/office/drawing/2014/main" id="{CA0ED302-59CE-A78B-A153-F1442E1550DA}"/>
                      </a:ext>
                    </a:extLst>
                  </p:cNvPr>
                  <p:cNvSpPr txBox="1"/>
                  <p:nvPr/>
                </p:nvSpPr>
                <p:spPr>
                  <a:xfrm>
                    <a:off x="1317856" y="4615709"/>
                    <a:ext cx="473780" cy="473780"/>
                  </a:xfrm>
                  <a:prstGeom prst="roundRect">
                    <a:avLst>
                      <a:gd name="adj" fmla="val 50000"/>
                    </a:avLst>
                  </a:prstGeom>
                  <a:solidFill>
                    <a:schemeClr val="tx2"/>
                  </a:solidFill>
                </p:spPr>
                <p:txBody>
                  <a:bodyPr wrap="none" lIns="91440" tIns="45720" rIns="91440" bIns="45720" rtlCol="0" anchor="ctr" anchorCtr="0">
                    <a:noAutofit/>
                  </a:bodyPr>
                  <a:lstStyle/>
                  <a:p>
                    <a:pPr algn="ctr"/>
                    <a:r>
                      <a:rPr kumimoji="1" lang="en-US" altLang="zh-CN" sz="2000" b="1" dirty="0">
                        <a:solidFill>
                          <a:srgbClr val="FFFFFF"/>
                        </a:solidFill>
                      </a:rPr>
                      <a:t>04</a:t>
                    </a:r>
                    <a:endParaRPr kumimoji="1" lang="zh-CN" altLang="en-US" sz="2000" b="1" dirty="0">
                      <a:solidFill>
                        <a:srgbClr val="FFFFFF"/>
                      </a:solidFill>
                    </a:endParaRPr>
                  </a:p>
                </p:txBody>
              </p:sp>
            </p:grpSp>
            <p:grpSp>
              <p:nvGrpSpPr>
                <p:cNvPr id="14" name="ïṣļíḓè">
                  <a:extLst>
                    <a:ext uri="{FF2B5EF4-FFF2-40B4-BE49-F238E27FC236}">
                      <a16:creationId xmlns:a16="http://schemas.microsoft.com/office/drawing/2014/main" id="{DA5D1024-5EF4-A5DD-3735-CEA9ED3F8687}"/>
                    </a:ext>
                  </a:extLst>
                </p:cNvPr>
                <p:cNvGrpSpPr/>
                <p:nvPr/>
              </p:nvGrpSpPr>
              <p:grpSpPr>
                <a:xfrm>
                  <a:off x="667526" y="5349040"/>
                  <a:ext cx="5257928" cy="889896"/>
                  <a:chOff x="1317856" y="5349040"/>
                  <a:chExt cx="5257928" cy="889896"/>
                </a:xfrm>
              </p:grpSpPr>
              <p:grpSp>
                <p:nvGrpSpPr>
                  <p:cNvPr id="15" name="íṡľîḋè">
                    <a:extLst>
                      <a:ext uri="{FF2B5EF4-FFF2-40B4-BE49-F238E27FC236}">
                        <a16:creationId xmlns:a16="http://schemas.microsoft.com/office/drawing/2014/main" id="{90A81FE5-DEFD-38C6-DF81-1E03F4F50028}"/>
                      </a:ext>
                    </a:extLst>
                  </p:cNvPr>
                  <p:cNvGrpSpPr>
                    <a:grpSpLocks/>
                  </p:cNvGrpSpPr>
                  <p:nvPr/>
                </p:nvGrpSpPr>
                <p:grpSpPr>
                  <a:xfrm>
                    <a:off x="1863355" y="5349040"/>
                    <a:ext cx="4712429" cy="889896"/>
                    <a:chOff x="7119256" y="2417643"/>
                    <a:chExt cx="5595668" cy="875536"/>
                  </a:xfrm>
                  <a:noFill/>
                </p:grpSpPr>
                <p:sp>
                  <p:nvSpPr>
                    <p:cNvPr id="17" name="îṥľîďe">
                      <a:extLst>
                        <a:ext uri="{FF2B5EF4-FFF2-40B4-BE49-F238E27FC236}">
                          <a16:creationId xmlns:a16="http://schemas.microsoft.com/office/drawing/2014/main" id="{BA5E2630-70A5-0CAA-9DEF-0763DD48C7D7}"/>
                        </a:ext>
                      </a:extLst>
                    </p:cNvPr>
                    <p:cNvSpPr/>
                    <p:nvPr/>
                  </p:nvSpPr>
                  <p:spPr>
                    <a:xfrm>
                      <a:off x="7119257" y="2417643"/>
                      <a:ext cx="3052561" cy="3330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r>
                        <a:rPr kumimoji="1" lang="en-US" altLang="zh-CN" sz="1600" b="1" dirty="0">
                          <a:solidFill>
                            <a:schemeClr val="tx1"/>
                          </a:solidFill>
                        </a:rPr>
                        <a:t>Multi-engine support</a:t>
                      </a:r>
                    </a:p>
                  </p:txBody>
                </p:sp>
                <p:sp>
                  <p:nvSpPr>
                    <p:cNvPr id="18" name="ísľíḋé">
                      <a:extLst>
                        <a:ext uri="{FF2B5EF4-FFF2-40B4-BE49-F238E27FC236}">
                          <a16:creationId xmlns:a16="http://schemas.microsoft.com/office/drawing/2014/main" id="{73DFF28B-CB20-CC6E-4C76-3003ED37910A}"/>
                        </a:ext>
                      </a:extLst>
                    </p:cNvPr>
                    <p:cNvSpPr/>
                    <p:nvPr/>
                  </p:nvSpPr>
                  <p:spPr>
                    <a:xfrm>
                      <a:off x="7119256" y="2754492"/>
                      <a:ext cx="5595668" cy="5386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nSpc>
                          <a:spcPct val="130000"/>
                        </a:lnSpc>
                      </a:pPr>
                      <a:r>
                        <a:rPr kumimoji="1" lang="en-US" altLang="zh-CN" sz="1200" dirty="0">
                          <a:solidFill>
                            <a:schemeClr val="tx1"/>
                          </a:solidFill>
                        </a:rPr>
                        <a:t>pyttsx3 supports multiple speech synthesis engines. It uses SAPI5 (for Windows) or </a:t>
                      </a:r>
                      <a:r>
                        <a:rPr kumimoji="1" lang="en-US" altLang="zh-CN" sz="1200" dirty="0" err="1">
                          <a:solidFill>
                            <a:schemeClr val="tx1"/>
                          </a:solidFill>
                        </a:rPr>
                        <a:t>NSSpeechSynthesizer</a:t>
                      </a:r>
                      <a:r>
                        <a:rPr kumimoji="1" lang="en-US" altLang="zh-CN" sz="1200" dirty="0">
                          <a:solidFill>
                            <a:schemeClr val="tx1"/>
                          </a:solidFill>
                        </a:rPr>
                        <a:t> (for Mac) by default</a:t>
                      </a:r>
                    </a:p>
                  </p:txBody>
                </p:sp>
              </p:grpSp>
              <p:sp>
                <p:nvSpPr>
                  <p:cNvPr id="16" name="ïš1îḓe">
                    <a:extLst>
                      <a:ext uri="{FF2B5EF4-FFF2-40B4-BE49-F238E27FC236}">
                        <a16:creationId xmlns:a16="http://schemas.microsoft.com/office/drawing/2014/main" id="{01F52DD4-60A6-8E05-516A-B1AC6AF0BE58}"/>
                      </a:ext>
                    </a:extLst>
                  </p:cNvPr>
                  <p:cNvSpPr txBox="1"/>
                  <p:nvPr/>
                </p:nvSpPr>
                <p:spPr>
                  <a:xfrm>
                    <a:off x="1317856" y="5438989"/>
                    <a:ext cx="473780" cy="473780"/>
                  </a:xfrm>
                  <a:prstGeom prst="roundRect">
                    <a:avLst>
                      <a:gd name="adj" fmla="val 50000"/>
                    </a:avLst>
                  </a:prstGeom>
                  <a:solidFill>
                    <a:schemeClr val="accent1"/>
                  </a:solidFill>
                </p:spPr>
                <p:txBody>
                  <a:bodyPr wrap="none" lIns="91440" tIns="45720" rIns="91440" bIns="45720" rtlCol="0" anchor="ctr" anchorCtr="0">
                    <a:noAutofit/>
                  </a:bodyPr>
                  <a:lstStyle/>
                  <a:p>
                    <a:pPr algn="ctr"/>
                    <a:r>
                      <a:rPr kumimoji="1" lang="en-US" altLang="zh-CN" sz="2000" b="1" dirty="0">
                        <a:solidFill>
                          <a:srgbClr val="FFFFFF"/>
                        </a:solidFill>
                      </a:rPr>
                      <a:t>05</a:t>
                    </a:r>
                    <a:endParaRPr kumimoji="1" lang="zh-CN" altLang="en-US" sz="2000" b="1" dirty="0">
                      <a:solidFill>
                        <a:srgbClr val="FFFFFF"/>
                      </a:solidFill>
                    </a:endParaRPr>
                  </a:p>
                </p:txBody>
              </p:sp>
            </p:grpSp>
          </p:grpSp>
        </p:grpSp>
        <p:cxnSp>
          <p:nvCxnSpPr>
            <p:cNvPr id="7" name="îS1íḑè">
              <a:extLst>
                <a:ext uri="{FF2B5EF4-FFF2-40B4-BE49-F238E27FC236}">
                  <a16:creationId xmlns:a16="http://schemas.microsoft.com/office/drawing/2014/main" id="{24C70E25-281B-EBCE-38EA-AD4908DB818D}"/>
                </a:ext>
              </a:extLst>
            </p:cNvPr>
            <p:cNvCxnSpPr>
              <a:cxnSpLocks/>
            </p:cNvCxnSpPr>
            <p:nvPr/>
          </p:nvCxnSpPr>
          <p:spPr>
            <a:xfrm>
              <a:off x="6096000" y="1867792"/>
              <a:ext cx="0" cy="4007930"/>
            </a:xfrm>
            <a:prstGeom prst="line">
              <a:avLst/>
            </a:prstGeom>
            <a:ln>
              <a:solidFill>
                <a:schemeClr val="tx2">
                  <a:alpha val="50000"/>
                </a:schemeClr>
              </a:solidFill>
            </a:ln>
          </p:spPr>
          <p:style>
            <a:lnRef idx="1">
              <a:schemeClr val="accent1"/>
            </a:lnRef>
            <a:fillRef idx="0">
              <a:schemeClr val="accent1"/>
            </a:fillRef>
            <a:effectRef idx="0">
              <a:schemeClr val="accent1"/>
            </a:effectRef>
            <a:fontRef idx="minor">
              <a:schemeClr val="tx1"/>
            </a:fontRef>
          </p:style>
        </p:cxnSp>
      </p:grpSp>
      <p:sp>
        <p:nvSpPr>
          <p:cNvPr id="42" name="íśḷíďè">
            <a:extLst>
              <a:ext uri="{FF2B5EF4-FFF2-40B4-BE49-F238E27FC236}">
                <a16:creationId xmlns:a16="http://schemas.microsoft.com/office/drawing/2014/main" id="{F5F09035-F4AC-A4C3-D8E0-19802E93731F}"/>
              </a:ext>
            </a:extLst>
          </p:cNvPr>
          <p:cNvSpPr/>
          <p:nvPr/>
        </p:nvSpPr>
        <p:spPr>
          <a:xfrm>
            <a:off x="10258112" y="3423412"/>
            <a:ext cx="1262376" cy="126237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200" b="1" dirty="0">
                <a:solidFill>
                  <a:srgbClr val="FFFFFF"/>
                </a:solidFill>
              </a:rPr>
              <a:t>Multi-engine support</a:t>
            </a:r>
          </a:p>
        </p:txBody>
      </p:sp>
      <p:sp>
        <p:nvSpPr>
          <p:cNvPr id="43" name="ïš1îḓe">
            <a:extLst>
              <a:ext uri="{FF2B5EF4-FFF2-40B4-BE49-F238E27FC236}">
                <a16:creationId xmlns:a16="http://schemas.microsoft.com/office/drawing/2014/main" id="{798E0635-DDB5-A1D7-E7C2-10C7E6954B6C}"/>
              </a:ext>
            </a:extLst>
          </p:cNvPr>
          <p:cNvSpPr txBox="1"/>
          <p:nvPr/>
        </p:nvSpPr>
        <p:spPr>
          <a:xfrm>
            <a:off x="858703" y="6040677"/>
            <a:ext cx="473780" cy="473780"/>
          </a:xfrm>
          <a:prstGeom prst="roundRect">
            <a:avLst>
              <a:gd name="adj" fmla="val 50000"/>
            </a:avLst>
          </a:prstGeom>
          <a:solidFill>
            <a:schemeClr val="accent1"/>
          </a:solidFill>
        </p:spPr>
        <p:txBody>
          <a:bodyPr wrap="none" lIns="91440" tIns="45720" rIns="91440" bIns="45720" rtlCol="0" anchor="ctr" anchorCtr="0">
            <a:noAutofit/>
          </a:bodyPr>
          <a:lstStyle/>
          <a:p>
            <a:pPr algn="ctr"/>
            <a:r>
              <a:rPr kumimoji="1" lang="en-US" altLang="zh-CN" sz="2000" b="1" dirty="0">
                <a:solidFill>
                  <a:srgbClr val="FFFFFF"/>
                </a:solidFill>
              </a:rPr>
              <a:t>06</a:t>
            </a:r>
            <a:endParaRPr kumimoji="1" lang="zh-CN" altLang="en-US" sz="2000" b="1" dirty="0">
              <a:solidFill>
                <a:srgbClr val="FFFFFF"/>
              </a:solidFill>
            </a:endParaRPr>
          </a:p>
        </p:txBody>
      </p:sp>
      <p:sp>
        <p:nvSpPr>
          <p:cNvPr id="44" name="îṥľîďe">
            <a:extLst>
              <a:ext uri="{FF2B5EF4-FFF2-40B4-BE49-F238E27FC236}">
                <a16:creationId xmlns:a16="http://schemas.microsoft.com/office/drawing/2014/main" id="{FC105D94-2616-A6C0-C79E-02398B318BA5}"/>
              </a:ext>
            </a:extLst>
          </p:cNvPr>
          <p:cNvSpPr/>
          <p:nvPr/>
        </p:nvSpPr>
        <p:spPr>
          <a:xfrm>
            <a:off x="1394369" y="6008132"/>
            <a:ext cx="3224087" cy="584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r>
              <a:rPr kumimoji="1" lang="en-US" altLang="zh-CN" sz="1600" b="1" dirty="0">
                <a:solidFill>
                  <a:schemeClr val="tx1"/>
                </a:solidFill>
              </a:rPr>
              <a:t>Advanced function</a:t>
            </a:r>
          </a:p>
          <a:p>
            <a:endParaRPr kumimoji="1" lang="en-US" altLang="zh-CN" sz="1600" b="1" dirty="0">
              <a:solidFill>
                <a:schemeClr val="tx1"/>
              </a:solidFill>
            </a:endParaRPr>
          </a:p>
        </p:txBody>
      </p:sp>
      <p:sp>
        <p:nvSpPr>
          <p:cNvPr id="45" name="ísľíḋé">
            <a:extLst>
              <a:ext uri="{FF2B5EF4-FFF2-40B4-BE49-F238E27FC236}">
                <a16:creationId xmlns:a16="http://schemas.microsoft.com/office/drawing/2014/main" id="{B6FBBD24-6170-38E5-C95C-F8FB57BC14AE}"/>
              </a:ext>
            </a:extLst>
          </p:cNvPr>
          <p:cNvSpPr/>
          <p:nvPr/>
        </p:nvSpPr>
        <p:spPr>
          <a:xfrm>
            <a:off x="1411329" y="6278394"/>
            <a:ext cx="5500748" cy="5475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nSpc>
                <a:spcPct val="130000"/>
              </a:lnSpc>
            </a:pPr>
            <a:r>
              <a:rPr kumimoji="1" lang="en-US" altLang="zh-CN" sz="1200" dirty="0">
                <a:solidFill>
                  <a:schemeClr val="tx1"/>
                </a:solidFill>
              </a:rPr>
              <a:t>pyttsx3 provides some advanced features for getting a list of available voices, setting specific voices, saving voices as audio files, and so on</a:t>
            </a:r>
          </a:p>
        </p:txBody>
      </p:sp>
    </p:spTree>
    <p:custDataLst>
      <p:tags r:id="rId1"/>
    </p:custDataLst>
    <p:extLst>
      <p:ext uri="{BB962C8B-B14F-4D97-AF65-F5344CB8AC3E}">
        <p14:creationId xmlns:p14="http://schemas.microsoft.com/office/powerpoint/2010/main" val="128985906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en-US" altLang="zh-CN" dirty="0"/>
              <a:t>Thinking</a:t>
            </a:r>
            <a:endParaRPr lang="zh-CN" altLang="en-US" dirty="0"/>
          </a:p>
        </p:txBody>
      </p:sp>
      <p:sp>
        <p:nvSpPr>
          <p:cNvPr id="9" name="文本框 8">
            <a:extLst>
              <a:ext uri="{FF2B5EF4-FFF2-40B4-BE49-F238E27FC236}">
                <a16:creationId xmlns:a16="http://schemas.microsoft.com/office/drawing/2014/main" id="{04F69230-F3A6-4586-9371-A858F4763E9F}"/>
              </a:ext>
            </a:extLst>
          </p:cNvPr>
          <p:cNvSpPr txBox="1"/>
          <p:nvPr/>
        </p:nvSpPr>
        <p:spPr>
          <a:xfrm>
            <a:off x="5485862" y="2349795"/>
            <a:ext cx="1139326" cy="990601"/>
          </a:xfrm>
          <a:prstGeom prst="rect">
            <a:avLst/>
          </a:prstGeom>
          <a:noFill/>
          <a:ln w="117475">
            <a:noFill/>
          </a:ln>
        </p:spPr>
        <p:txBody>
          <a:bodyPr wrap="none" rtlCol="0">
            <a:prstTxWarp prst="textPlain">
              <a:avLst/>
            </a:prstTxWarp>
            <a:spAutoFit/>
          </a:bodyPr>
          <a:lstStyle/>
          <a:p>
            <a:pPr algn="ctr"/>
            <a:r>
              <a:rPr lang="en-US" altLang="zh-CN" spc="100" dirty="0">
                <a:solidFill>
                  <a:schemeClr val="accent1"/>
                </a:solidFill>
                <a:latin typeface="Impact" panose="020B0806030902050204" pitchFamily="34" charset="0"/>
                <a:cs typeface="Arial" panose="020B0604020202020204" pitchFamily="34" charset="0"/>
              </a:rPr>
              <a:t>/03</a:t>
            </a:r>
            <a:endParaRPr lang="zh-CN" altLang="en-US" spc="100" dirty="0">
              <a:solidFill>
                <a:schemeClr val="accent1"/>
              </a:solidFill>
              <a:latin typeface="Impact" panose="020B0806030902050204" pitchFamily="34" charset="0"/>
              <a:cs typeface="Arial" panose="020B0604020202020204" pitchFamily="34" charset="0"/>
            </a:endParaRPr>
          </a:p>
        </p:txBody>
      </p:sp>
    </p:spTree>
    <p:custDataLst>
      <p:tags r:id="rId2"/>
    </p:custDataLst>
    <p:extLst>
      <p:ext uri="{BB962C8B-B14F-4D97-AF65-F5344CB8AC3E}">
        <p14:creationId xmlns:p14="http://schemas.microsoft.com/office/powerpoint/2010/main" val="82914712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E4AA242D-CC65-D5A1-3E19-504E0F00A864}"/>
              </a:ext>
            </a:extLst>
          </p:cNvPr>
          <p:cNvSpPr>
            <a:spLocks noGrp="1"/>
          </p:cNvSpPr>
          <p:nvPr>
            <p:ph type="title"/>
          </p:nvPr>
        </p:nvSpPr>
        <p:spPr/>
        <p:txBody>
          <a:bodyPr/>
          <a:lstStyle/>
          <a:p>
            <a:r>
              <a:rPr lang="en-US" altLang="zh-CN" dirty="0"/>
              <a:t>Improvement</a:t>
            </a:r>
            <a:endParaRPr lang="zh-CN" altLang="en-US" dirty="0"/>
          </a:p>
        </p:txBody>
      </p:sp>
      <p:sp>
        <p:nvSpPr>
          <p:cNvPr id="4" name="灯片编号占位符 3">
            <a:extLst>
              <a:ext uri="{FF2B5EF4-FFF2-40B4-BE49-F238E27FC236}">
                <a16:creationId xmlns:a16="http://schemas.microsoft.com/office/drawing/2014/main" id="{43DB90B0-3D59-3388-67B8-EAD7FCB9D123}"/>
              </a:ext>
            </a:extLst>
          </p:cNvPr>
          <p:cNvSpPr>
            <a:spLocks noGrp="1"/>
          </p:cNvSpPr>
          <p:nvPr>
            <p:ph type="sldNum" sz="quarter" idx="12"/>
          </p:nvPr>
        </p:nvSpPr>
        <p:spPr/>
        <p:txBody>
          <a:bodyPr/>
          <a:lstStyle/>
          <a:p>
            <a:fld id="{5DD3DB80-B894-403A-B48E-6FDC1A72010E}" type="slidenum">
              <a:rPr lang="zh-CN" altLang="en-US" smtClean="0"/>
              <a:pPr/>
              <a:t>12</a:t>
            </a:fld>
            <a:endParaRPr lang="zh-CN" altLang="en-US"/>
          </a:p>
        </p:txBody>
      </p:sp>
      <p:grpSp>
        <p:nvGrpSpPr>
          <p:cNvPr id="5" name="组合 4">
            <a:extLst>
              <a:ext uri="{FF2B5EF4-FFF2-40B4-BE49-F238E27FC236}">
                <a16:creationId xmlns:a16="http://schemas.microsoft.com/office/drawing/2014/main" id="{B6D349A8-83B3-421B-00D1-98E8273937BA}"/>
              </a:ext>
            </a:extLst>
          </p:cNvPr>
          <p:cNvGrpSpPr/>
          <p:nvPr/>
        </p:nvGrpSpPr>
        <p:grpSpPr>
          <a:xfrm>
            <a:off x="644951" y="1358900"/>
            <a:ext cx="8146112" cy="4627880"/>
            <a:chOff x="644951" y="1358900"/>
            <a:chExt cx="8146112" cy="4627880"/>
          </a:xfrm>
        </p:grpSpPr>
        <p:sp>
          <p:nvSpPr>
            <p:cNvPr id="6" name="îṥḷíḓé">
              <a:extLst>
                <a:ext uri="{FF2B5EF4-FFF2-40B4-BE49-F238E27FC236}">
                  <a16:creationId xmlns:a16="http://schemas.microsoft.com/office/drawing/2014/main" id="{7E847B8B-7057-3D37-C162-4A1172962A93}"/>
                </a:ext>
              </a:extLst>
            </p:cNvPr>
            <p:cNvSpPr/>
            <p:nvPr/>
          </p:nvSpPr>
          <p:spPr>
            <a:xfrm>
              <a:off x="3725017" y="1358900"/>
              <a:ext cx="4627880" cy="4627880"/>
            </a:xfrm>
            <a:prstGeom prst="ellipse">
              <a:avLst/>
            </a:prstGeom>
            <a:noFill/>
            <a:ln>
              <a:solidFill>
                <a:schemeClr val="tx2">
                  <a:alpha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grpSp>
          <p:nvGrpSpPr>
            <p:cNvPr id="7" name="iṥľîḋé">
              <a:extLst>
                <a:ext uri="{FF2B5EF4-FFF2-40B4-BE49-F238E27FC236}">
                  <a16:creationId xmlns:a16="http://schemas.microsoft.com/office/drawing/2014/main" id="{FE4AB2EB-BDA2-9054-45F3-09E7B77D9E2B}"/>
                </a:ext>
              </a:extLst>
            </p:cNvPr>
            <p:cNvGrpSpPr/>
            <p:nvPr/>
          </p:nvGrpSpPr>
          <p:grpSpPr>
            <a:xfrm>
              <a:off x="4238958" y="1872840"/>
              <a:ext cx="3600000" cy="3600000"/>
              <a:chOff x="4296000" y="1832200"/>
              <a:chExt cx="3600000" cy="3600000"/>
            </a:xfrm>
          </p:grpSpPr>
          <p:sp>
            <p:nvSpPr>
              <p:cNvPr id="17" name="iśḻídê">
                <a:extLst>
                  <a:ext uri="{FF2B5EF4-FFF2-40B4-BE49-F238E27FC236}">
                    <a16:creationId xmlns:a16="http://schemas.microsoft.com/office/drawing/2014/main" id="{8EE36B54-CFCD-CE2E-7F94-520655CA4160}"/>
                  </a:ext>
                </a:extLst>
              </p:cNvPr>
              <p:cNvSpPr/>
              <p:nvPr/>
            </p:nvSpPr>
            <p:spPr>
              <a:xfrm flipH="1">
                <a:off x="4296000" y="1832200"/>
                <a:ext cx="3600000" cy="3600000"/>
              </a:xfrm>
              <a:prstGeom prst="blockArc">
                <a:avLst>
                  <a:gd name="adj1" fmla="val 16200000"/>
                  <a:gd name="adj2" fmla="val 5400000"/>
                  <a:gd name="adj3" fmla="val 15000"/>
                </a:avLst>
              </a:prstGeom>
              <a:solidFill>
                <a:schemeClr val="tx2">
                  <a:alpha val="15000"/>
                </a:schemeClr>
              </a:solidFill>
              <a:ln w="50800" cap="flat" cmpd="sng" algn="ctr">
                <a:solidFill>
                  <a:schemeClr val="bg1"/>
                </a:solidFill>
                <a:prstDash val="solid"/>
                <a:miter lim="800000"/>
              </a:ln>
            </p:spPr>
            <p:txBody>
              <a:bodyPr lIns="108000" tIns="108000" rIns="108000" bIns="108000" rtlCol="0" anchor="ctr"/>
              <a:lstStyle/>
              <a:p>
                <a:endParaRPr lang="zh-CN" altLang="en-US">
                  <a:solidFill>
                    <a:schemeClr val="tx1"/>
                  </a:solidFill>
                </a:endParaRPr>
              </a:p>
            </p:txBody>
          </p:sp>
          <p:sp>
            <p:nvSpPr>
              <p:cNvPr id="18" name="ïş1îḓé">
                <a:extLst>
                  <a:ext uri="{FF2B5EF4-FFF2-40B4-BE49-F238E27FC236}">
                    <a16:creationId xmlns:a16="http://schemas.microsoft.com/office/drawing/2014/main" id="{A828F6E3-55BC-D341-7589-53AB00B08EAB}"/>
                  </a:ext>
                </a:extLst>
              </p:cNvPr>
              <p:cNvSpPr/>
              <p:nvPr/>
            </p:nvSpPr>
            <p:spPr>
              <a:xfrm flipH="1">
                <a:off x="4296000" y="1832200"/>
                <a:ext cx="3600000" cy="3600000"/>
              </a:xfrm>
              <a:prstGeom prst="blockArc">
                <a:avLst>
                  <a:gd name="adj1" fmla="val 5400000"/>
                  <a:gd name="adj2" fmla="val 16200000"/>
                  <a:gd name="adj3" fmla="val 15000"/>
                </a:avLst>
              </a:prstGeom>
              <a:solidFill>
                <a:schemeClr val="tx2">
                  <a:alpha val="15000"/>
                </a:schemeClr>
              </a:solidFill>
              <a:ln w="50800" cap="flat" cmpd="sng" algn="ctr">
                <a:solidFill>
                  <a:schemeClr val="bg1"/>
                </a:solidFill>
                <a:prstDash val="solid"/>
                <a:miter lim="800000"/>
              </a:ln>
            </p:spPr>
            <p:txBody>
              <a:bodyPr lIns="108000" tIns="108000" rIns="108000" bIns="108000" rtlCol="0" anchor="ctr"/>
              <a:lstStyle/>
              <a:p>
                <a:endParaRPr lang="zh-CN" altLang="en-US">
                  <a:solidFill>
                    <a:schemeClr val="tx1"/>
                  </a:solidFill>
                </a:endParaRPr>
              </a:p>
            </p:txBody>
          </p:sp>
        </p:grpSp>
        <p:sp>
          <p:nvSpPr>
            <p:cNvPr id="8" name="ïṧľíḓé">
              <a:extLst>
                <a:ext uri="{FF2B5EF4-FFF2-40B4-BE49-F238E27FC236}">
                  <a16:creationId xmlns:a16="http://schemas.microsoft.com/office/drawing/2014/main" id="{8A8B09B3-3E60-77E0-ED27-51EE3C5B7A5E}"/>
                </a:ext>
              </a:extLst>
            </p:cNvPr>
            <p:cNvSpPr txBox="1"/>
            <p:nvPr/>
          </p:nvSpPr>
          <p:spPr>
            <a:xfrm>
              <a:off x="3314138" y="3004990"/>
              <a:ext cx="1335700" cy="1335700"/>
            </a:xfrm>
            <a:prstGeom prst="roundRect">
              <a:avLst>
                <a:gd name="adj" fmla="val 50000"/>
              </a:avLst>
            </a:prstGeom>
            <a:solidFill>
              <a:schemeClr val="accent1"/>
            </a:solidFill>
            <a:ln w="25400">
              <a:solidFill>
                <a:schemeClr val="bg1"/>
              </a:solidFill>
            </a:ln>
          </p:spPr>
          <p:txBody>
            <a:bodyPr wrap="none" lIns="108000" tIns="108000" rIns="108000" bIns="108000" rtlCol="0" anchor="ctr" anchorCtr="0">
              <a:noAutofit/>
            </a:bodyPr>
            <a:lstStyle/>
            <a:p>
              <a:pPr algn="ctr"/>
              <a:r>
                <a:rPr kumimoji="1" lang="en-US" altLang="zh-CN" sz="1600" b="1" dirty="0">
                  <a:solidFill>
                    <a:schemeClr val="bg1"/>
                  </a:solidFill>
                </a:rPr>
                <a:t>Emphasis </a:t>
              </a:r>
            </a:p>
            <a:p>
              <a:pPr algn="ctr"/>
              <a:r>
                <a:rPr kumimoji="1" lang="en-US" altLang="zh-CN" sz="1600" b="1" dirty="0">
                  <a:solidFill>
                    <a:schemeClr val="bg1"/>
                  </a:solidFill>
                </a:rPr>
                <a:t>and tone</a:t>
              </a:r>
              <a:endParaRPr kumimoji="1" lang="zh-CN" altLang="en-US" sz="1600" b="1" dirty="0">
                <a:solidFill>
                  <a:schemeClr val="bg1"/>
                </a:solidFill>
              </a:endParaRPr>
            </a:p>
          </p:txBody>
        </p:sp>
        <p:sp>
          <p:nvSpPr>
            <p:cNvPr id="9" name="íšḻíḍè">
              <a:extLst>
                <a:ext uri="{FF2B5EF4-FFF2-40B4-BE49-F238E27FC236}">
                  <a16:creationId xmlns:a16="http://schemas.microsoft.com/office/drawing/2014/main" id="{2ED4BDE8-022F-B4AF-E304-83A51542F1B9}"/>
                </a:ext>
              </a:extLst>
            </p:cNvPr>
            <p:cNvSpPr txBox="1"/>
            <p:nvPr/>
          </p:nvSpPr>
          <p:spPr>
            <a:xfrm>
              <a:off x="7455363" y="3004990"/>
              <a:ext cx="1335700" cy="1335700"/>
            </a:xfrm>
            <a:prstGeom prst="roundRect">
              <a:avLst>
                <a:gd name="adj" fmla="val 50000"/>
              </a:avLst>
            </a:prstGeom>
            <a:solidFill>
              <a:schemeClr val="tx2">
                <a:alpha val="80000"/>
              </a:schemeClr>
            </a:solidFill>
            <a:ln w="25400">
              <a:solidFill>
                <a:schemeClr val="bg1"/>
              </a:solidFill>
            </a:ln>
          </p:spPr>
          <p:txBody>
            <a:bodyPr wrap="none" lIns="108000" tIns="108000" rIns="108000" bIns="108000" rtlCol="0" anchor="ctr" anchorCtr="0">
              <a:noAutofit/>
            </a:bodyPr>
            <a:lstStyle/>
            <a:p>
              <a:pPr algn="ctr"/>
              <a:r>
                <a:rPr lang="en-US" altLang="zh-CN" sz="1600" b="0" i="0" dirty="0">
                  <a:solidFill>
                    <a:srgbClr val="333333"/>
                  </a:solidFill>
                  <a:effectLst/>
                  <a:latin typeface="tahoma" panose="020B0604030504040204" pitchFamily="34" charset="0"/>
                </a:rPr>
                <a:t>Introducing </a:t>
              </a:r>
            </a:p>
            <a:p>
              <a:pPr algn="ctr"/>
              <a:r>
                <a:rPr lang="en-US" altLang="zh-CN" sz="1600" b="0" i="0" dirty="0">
                  <a:solidFill>
                    <a:srgbClr val="333333"/>
                  </a:solidFill>
                  <a:effectLst/>
                  <a:latin typeface="tahoma" panose="020B0604030504040204" pitchFamily="34" charset="0"/>
                </a:rPr>
                <a:t>the latest </a:t>
              </a:r>
            </a:p>
            <a:p>
              <a:pPr algn="ctr"/>
              <a:r>
                <a:rPr lang="en-US" altLang="zh-CN" sz="1600" b="0" i="0" dirty="0">
                  <a:solidFill>
                    <a:srgbClr val="333333"/>
                  </a:solidFill>
                  <a:effectLst/>
                  <a:latin typeface="tahoma" panose="020B0604030504040204" pitchFamily="34" charset="0"/>
                </a:rPr>
                <a:t>technology</a:t>
              </a:r>
              <a:endParaRPr kumimoji="1" lang="zh-CN" altLang="en-US" sz="1600" b="1" dirty="0">
                <a:solidFill>
                  <a:schemeClr val="bg1"/>
                </a:solidFill>
              </a:endParaRPr>
            </a:p>
          </p:txBody>
        </p:sp>
        <p:sp>
          <p:nvSpPr>
            <p:cNvPr id="10" name="íSľíḓè">
              <a:extLst>
                <a:ext uri="{FF2B5EF4-FFF2-40B4-BE49-F238E27FC236}">
                  <a16:creationId xmlns:a16="http://schemas.microsoft.com/office/drawing/2014/main" id="{0EAB1F47-2102-832D-09E9-C5CF73205154}"/>
                </a:ext>
              </a:extLst>
            </p:cNvPr>
            <p:cNvSpPr/>
            <p:nvPr/>
          </p:nvSpPr>
          <p:spPr>
            <a:xfrm>
              <a:off x="4778957" y="2412840"/>
              <a:ext cx="2520000" cy="2520000"/>
            </a:xfrm>
            <a:prstGeom prst="roundRect">
              <a:avLst>
                <a:gd name="adj" fmla="val 50000"/>
              </a:avLst>
            </a:prstGeom>
            <a:blipFill>
              <a:blip r:embed="rId3"/>
              <a:stretch>
                <a:fillRect l="-30151" r="-29849"/>
              </a:stretch>
            </a:blipFill>
            <a:ln w="50800" cap="flat"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dirty="0"/>
            </a:p>
          </p:txBody>
        </p:sp>
        <p:sp>
          <p:nvSpPr>
            <p:cNvPr id="11" name="îṧḻîḓe">
              <a:extLst>
                <a:ext uri="{FF2B5EF4-FFF2-40B4-BE49-F238E27FC236}">
                  <a16:creationId xmlns:a16="http://schemas.microsoft.com/office/drawing/2014/main" id="{82FB10BB-A51F-453B-306E-590A20DDE9EF}"/>
                </a:ext>
              </a:extLst>
            </p:cNvPr>
            <p:cNvSpPr txBox="1"/>
            <p:nvPr/>
          </p:nvSpPr>
          <p:spPr>
            <a:xfrm>
              <a:off x="4493343" y="1691148"/>
              <a:ext cx="1120876" cy="936347"/>
            </a:xfrm>
            <a:prstGeom prst="roundRect">
              <a:avLst>
                <a:gd name="adj" fmla="val 50000"/>
              </a:avLst>
            </a:prstGeom>
            <a:solidFill>
              <a:schemeClr val="accent1">
                <a:alpha val="70000"/>
              </a:schemeClr>
            </a:solidFill>
            <a:ln w="12700">
              <a:solidFill>
                <a:schemeClr val="bg1"/>
              </a:solidFill>
            </a:ln>
          </p:spPr>
          <p:txBody>
            <a:bodyPr wrap="none" lIns="108000" tIns="108000" rIns="108000" bIns="108000" rtlCol="0" anchor="ctr" anchorCtr="0">
              <a:noAutofit/>
            </a:bodyPr>
            <a:lstStyle/>
            <a:p>
              <a:pPr algn="ctr"/>
              <a:r>
                <a:rPr kumimoji="1" lang="en-US" altLang="zh-CN" sz="1400" b="1" dirty="0">
                  <a:solidFill>
                    <a:schemeClr val="bg1"/>
                  </a:solidFill>
                </a:rPr>
                <a:t>Speed </a:t>
              </a:r>
            </a:p>
            <a:p>
              <a:pPr algn="ctr"/>
              <a:r>
                <a:rPr kumimoji="1" lang="en-US" altLang="zh-CN" sz="1400" b="1" dirty="0">
                  <a:solidFill>
                    <a:schemeClr val="bg1"/>
                  </a:solidFill>
                </a:rPr>
                <a:t>and pitch </a:t>
              </a:r>
            </a:p>
            <a:p>
              <a:pPr algn="ctr"/>
              <a:r>
                <a:rPr kumimoji="1" lang="en-US" altLang="zh-CN" sz="1400" b="1" dirty="0">
                  <a:solidFill>
                    <a:schemeClr val="bg1"/>
                  </a:solidFill>
                </a:rPr>
                <a:t>control</a:t>
              </a:r>
              <a:endParaRPr kumimoji="1" lang="zh-CN" altLang="en-US" sz="1400" b="1" dirty="0">
                <a:solidFill>
                  <a:schemeClr val="bg1"/>
                </a:solidFill>
              </a:endParaRPr>
            </a:p>
          </p:txBody>
        </p:sp>
        <p:sp>
          <p:nvSpPr>
            <p:cNvPr id="12" name="îŝlîďê">
              <a:extLst>
                <a:ext uri="{FF2B5EF4-FFF2-40B4-BE49-F238E27FC236}">
                  <a16:creationId xmlns:a16="http://schemas.microsoft.com/office/drawing/2014/main" id="{F233FA3E-4621-34AB-4355-4F3EF8A7725D}"/>
                </a:ext>
              </a:extLst>
            </p:cNvPr>
            <p:cNvSpPr txBox="1"/>
            <p:nvPr/>
          </p:nvSpPr>
          <p:spPr>
            <a:xfrm>
              <a:off x="6737757" y="1418466"/>
              <a:ext cx="1120876" cy="1209029"/>
            </a:xfrm>
            <a:prstGeom prst="roundRect">
              <a:avLst>
                <a:gd name="adj" fmla="val 50000"/>
              </a:avLst>
            </a:prstGeom>
            <a:solidFill>
              <a:schemeClr val="tx2">
                <a:alpha val="70000"/>
              </a:schemeClr>
            </a:solidFill>
            <a:ln w="12700">
              <a:solidFill>
                <a:schemeClr val="bg1"/>
              </a:solidFill>
            </a:ln>
          </p:spPr>
          <p:txBody>
            <a:bodyPr wrap="none" lIns="108000" tIns="108000" rIns="108000" bIns="108000" rtlCol="0" anchor="ctr" anchorCtr="0">
              <a:noAutofit/>
            </a:bodyPr>
            <a:lstStyle/>
            <a:p>
              <a:pPr algn="ctr"/>
              <a:r>
                <a:rPr kumimoji="1" lang="en-US" altLang="zh-CN" sz="1400" b="1" dirty="0">
                  <a:solidFill>
                    <a:schemeClr val="bg1"/>
                  </a:solidFill>
                </a:rPr>
                <a:t>Focus </a:t>
              </a:r>
            </a:p>
            <a:p>
              <a:pPr algn="ctr"/>
              <a:r>
                <a:rPr kumimoji="1" lang="en-US" altLang="zh-CN" sz="1400" b="1" dirty="0">
                  <a:solidFill>
                    <a:schemeClr val="bg1"/>
                  </a:solidFill>
                </a:rPr>
                <a:t>on specific </a:t>
              </a:r>
            </a:p>
            <a:p>
              <a:pPr algn="ctr"/>
              <a:r>
                <a:rPr kumimoji="1" lang="en-US" altLang="zh-CN" sz="1400" b="1" dirty="0">
                  <a:solidFill>
                    <a:schemeClr val="bg1"/>
                  </a:solidFill>
                </a:rPr>
                <a:t>languages </a:t>
              </a:r>
            </a:p>
            <a:p>
              <a:pPr algn="ctr"/>
              <a:r>
                <a:rPr kumimoji="1" lang="en-US" altLang="zh-CN" sz="1400" b="1" dirty="0">
                  <a:solidFill>
                    <a:schemeClr val="bg1"/>
                  </a:solidFill>
                </a:rPr>
                <a:t>and accents</a:t>
              </a:r>
              <a:endParaRPr kumimoji="1" lang="zh-CN" altLang="en-US" sz="1400" b="1" dirty="0">
                <a:solidFill>
                  <a:schemeClr val="bg1"/>
                </a:solidFill>
              </a:endParaRPr>
            </a:p>
          </p:txBody>
        </p:sp>
        <p:sp>
          <p:nvSpPr>
            <p:cNvPr id="13" name="îşḷiḑê">
              <a:extLst>
                <a:ext uri="{FF2B5EF4-FFF2-40B4-BE49-F238E27FC236}">
                  <a16:creationId xmlns:a16="http://schemas.microsoft.com/office/drawing/2014/main" id="{719315D0-10A0-9EE7-274E-27E282739165}"/>
                </a:ext>
              </a:extLst>
            </p:cNvPr>
            <p:cNvSpPr txBox="1"/>
            <p:nvPr/>
          </p:nvSpPr>
          <p:spPr>
            <a:xfrm>
              <a:off x="644951" y="3082838"/>
              <a:ext cx="2785180" cy="1180003"/>
            </a:xfrm>
            <a:prstGeom prst="rect">
              <a:avLst/>
            </a:prstGeom>
            <a:noFill/>
          </p:spPr>
          <p:txBody>
            <a:bodyPr wrap="square" rtlCol="0">
              <a:spAutoFit/>
            </a:bodyPr>
            <a:lstStyle/>
            <a:p>
              <a:pPr>
                <a:lnSpc>
                  <a:spcPct val="120000"/>
                </a:lnSpc>
              </a:pPr>
              <a:r>
                <a:rPr lang="en-US" altLang="zh-CN" sz="1200" dirty="0"/>
                <a:t>Where appropriate, emphasize certain words or express certain emotions by using different tones, volumes, and tones. This can make speech sounds more vivid and expressive</a:t>
              </a:r>
              <a:endParaRPr lang="en" altLang="zh-CN" sz="1200" dirty="0"/>
            </a:p>
          </p:txBody>
        </p:sp>
        <p:sp>
          <p:nvSpPr>
            <p:cNvPr id="15" name="ïŝḻîďê">
              <a:extLst>
                <a:ext uri="{FF2B5EF4-FFF2-40B4-BE49-F238E27FC236}">
                  <a16:creationId xmlns:a16="http://schemas.microsoft.com/office/drawing/2014/main" id="{FE9C9B6F-E55B-4AA7-2967-CB50FEF3C47B}"/>
                </a:ext>
              </a:extLst>
            </p:cNvPr>
            <p:cNvSpPr txBox="1"/>
            <p:nvPr/>
          </p:nvSpPr>
          <p:spPr>
            <a:xfrm>
              <a:off x="4119715" y="4670890"/>
              <a:ext cx="1258529" cy="983642"/>
            </a:xfrm>
            <a:prstGeom prst="roundRect">
              <a:avLst>
                <a:gd name="adj" fmla="val 50000"/>
              </a:avLst>
            </a:prstGeom>
            <a:solidFill>
              <a:schemeClr val="accent1">
                <a:alpha val="70000"/>
              </a:schemeClr>
            </a:solidFill>
            <a:ln w="12700">
              <a:solidFill>
                <a:schemeClr val="bg1"/>
              </a:solidFill>
            </a:ln>
          </p:spPr>
          <p:txBody>
            <a:bodyPr wrap="none" lIns="108000" tIns="108000" rIns="108000" bIns="108000" rtlCol="0" anchor="ctr" anchorCtr="0">
              <a:noAutofit/>
            </a:bodyPr>
            <a:lstStyle/>
            <a:p>
              <a:pPr algn="ctr"/>
              <a:r>
                <a:rPr kumimoji="1" lang="en-US" altLang="zh-CN" sz="1400" b="1" dirty="0">
                  <a:solidFill>
                    <a:schemeClr val="bg1"/>
                  </a:solidFill>
                </a:rPr>
                <a:t>Accuracy </a:t>
              </a:r>
            </a:p>
            <a:p>
              <a:pPr algn="ctr"/>
              <a:r>
                <a:rPr kumimoji="1" lang="en-US" altLang="zh-CN" sz="1400" b="1" dirty="0">
                  <a:solidFill>
                    <a:schemeClr val="bg1"/>
                  </a:solidFill>
                </a:rPr>
                <a:t>and </a:t>
              </a:r>
            </a:p>
            <a:p>
              <a:pPr algn="ctr"/>
              <a:r>
                <a:rPr kumimoji="1" lang="en-US" altLang="zh-CN" sz="1400" b="1" dirty="0">
                  <a:solidFill>
                    <a:schemeClr val="bg1"/>
                  </a:solidFill>
                </a:rPr>
                <a:t>coherence of </a:t>
              </a:r>
            </a:p>
            <a:p>
              <a:pPr algn="ctr"/>
              <a:r>
                <a:rPr kumimoji="1" lang="en-US" altLang="zh-CN" sz="1400" b="1" dirty="0">
                  <a:solidFill>
                    <a:schemeClr val="bg1"/>
                  </a:solidFill>
                </a:rPr>
                <a:t>phonemes</a:t>
              </a:r>
              <a:endParaRPr kumimoji="1" lang="zh-CN" altLang="en-US" sz="1400" b="1" dirty="0">
                <a:solidFill>
                  <a:schemeClr val="bg1"/>
                </a:solidFill>
              </a:endParaRPr>
            </a:p>
          </p:txBody>
        </p:sp>
        <p:sp>
          <p:nvSpPr>
            <p:cNvPr id="16" name="íṩlîďê">
              <a:extLst>
                <a:ext uri="{FF2B5EF4-FFF2-40B4-BE49-F238E27FC236}">
                  <a16:creationId xmlns:a16="http://schemas.microsoft.com/office/drawing/2014/main" id="{67361B88-56A9-8A26-5301-CA77ECCB29BD}"/>
                </a:ext>
              </a:extLst>
            </p:cNvPr>
            <p:cNvSpPr txBox="1"/>
            <p:nvPr/>
          </p:nvSpPr>
          <p:spPr>
            <a:xfrm>
              <a:off x="6737757" y="4730456"/>
              <a:ext cx="1220444" cy="935354"/>
            </a:xfrm>
            <a:prstGeom prst="roundRect">
              <a:avLst>
                <a:gd name="adj" fmla="val 50000"/>
              </a:avLst>
            </a:prstGeom>
            <a:solidFill>
              <a:schemeClr val="tx2">
                <a:alpha val="70000"/>
              </a:schemeClr>
            </a:solidFill>
            <a:ln w="12700">
              <a:solidFill>
                <a:schemeClr val="bg1"/>
              </a:solidFill>
            </a:ln>
          </p:spPr>
          <p:txBody>
            <a:bodyPr wrap="none" lIns="108000" tIns="108000" rIns="108000" bIns="108000" rtlCol="0" anchor="ctr" anchorCtr="0">
              <a:noAutofit/>
            </a:bodyPr>
            <a:lstStyle/>
            <a:p>
              <a:pPr algn="ctr"/>
              <a:r>
                <a:rPr kumimoji="1" lang="en-US" altLang="zh-CN" sz="1400" b="1" dirty="0">
                  <a:solidFill>
                    <a:schemeClr val="bg1"/>
                  </a:solidFill>
                </a:rPr>
                <a:t>User </a:t>
              </a:r>
            </a:p>
            <a:p>
              <a:pPr algn="ctr"/>
              <a:r>
                <a:rPr kumimoji="1" lang="en-US" altLang="zh-CN" sz="1400" b="1" dirty="0">
                  <a:solidFill>
                    <a:schemeClr val="bg1"/>
                  </a:solidFill>
                </a:rPr>
                <a:t>feedback </a:t>
              </a:r>
            </a:p>
            <a:p>
              <a:pPr algn="ctr"/>
              <a:r>
                <a:rPr kumimoji="1" lang="en-US" altLang="zh-CN" sz="1400" b="1" dirty="0">
                  <a:solidFill>
                    <a:schemeClr val="bg1"/>
                  </a:solidFill>
                </a:rPr>
                <a:t>and </a:t>
              </a:r>
            </a:p>
            <a:p>
              <a:pPr algn="ctr"/>
              <a:r>
                <a:rPr kumimoji="1" lang="en-US" altLang="zh-CN" sz="1400" b="1" dirty="0">
                  <a:solidFill>
                    <a:schemeClr val="bg1"/>
                  </a:solidFill>
                </a:rPr>
                <a:t>evaluation</a:t>
              </a:r>
              <a:endParaRPr kumimoji="1" lang="zh-CN" altLang="en-US" sz="1400" b="1" dirty="0">
                <a:solidFill>
                  <a:schemeClr val="bg1"/>
                </a:solidFill>
              </a:endParaRPr>
            </a:p>
          </p:txBody>
        </p:sp>
      </p:grpSp>
      <p:sp>
        <p:nvSpPr>
          <p:cNvPr id="19" name="文本框 18">
            <a:extLst>
              <a:ext uri="{FF2B5EF4-FFF2-40B4-BE49-F238E27FC236}">
                <a16:creationId xmlns:a16="http://schemas.microsoft.com/office/drawing/2014/main" id="{65DDD7D9-9F03-E83A-176A-515AE5E314E6}"/>
              </a:ext>
            </a:extLst>
          </p:cNvPr>
          <p:cNvSpPr txBox="1"/>
          <p:nvPr/>
        </p:nvSpPr>
        <p:spPr>
          <a:xfrm>
            <a:off x="1574998" y="1328160"/>
            <a:ext cx="3224981" cy="830997"/>
          </a:xfrm>
          <a:prstGeom prst="rect">
            <a:avLst/>
          </a:prstGeom>
          <a:noFill/>
        </p:spPr>
        <p:txBody>
          <a:bodyPr wrap="square" rtlCol="0">
            <a:spAutoFit/>
          </a:bodyPr>
          <a:lstStyle/>
          <a:p>
            <a:r>
              <a:rPr lang="en-US" altLang="zh-CN" sz="1200" dirty="0"/>
              <a:t>By adjusting speed and pitch, make speech sound more natural. Appropriate speed and pitch can increase the intelligibility and fluency of speech.</a:t>
            </a:r>
            <a:endParaRPr lang="zh-CN" altLang="en-US" sz="1200" dirty="0"/>
          </a:p>
        </p:txBody>
      </p:sp>
      <p:sp>
        <p:nvSpPr>
          <p:cNvPr id="20" name="文本框 19">
            <a:extLst>
              <a:ext uri="{FF2B5EF4-FFF2-40B4-BE49-F238E27FC236}">
                <a16:creationId xmlns:a16="http://schemas.microsoft.com/office/drawing/2014/main" id="{0014582A-F3AB-F8B2-B2B0-F8852968C31A}"/>
              </a:ext>
            </a:extLst>
          </p:cNvPr>
          <p:cNvSpPr txBox="1"/>
          <p:nvPr/>
        </p:nvSpPr>
        <p:spPr>
          <a:xfrm>
            <a:off x="1193619" y="4806602"/>
            <a:ext cx="3045337" cy="1384995"/>
          </a:xfrm>
          <a:prstGeom prst="rect">
            <a:avLst/>
          </a:prstGeom>
          <a:noFill/>
        </p:spPr>
        <p:txBody>
          <a:bodyPr wrap="square" rtlCol="0">
            <a:spAutoFit/>
          </a:bodyPr>
          <a:lstStyle/>
          <a:p>
            <a:r>
              <a:rPr lang="en-US" altLang="zh-CN" sz="1200" b="0" i="0" dirty="0">
                <a:solidFill>
                  <a:srgbClr val="333333"/>
                </a:solidFill>
                <a:effectLst/>
              </a:rPr>
              <a:t>Ensure that the speech synthesis engine can accurately recognize and synthesize different phonemes. Ensure that transitions and connections between phonemes are smooth and natural to avoid staccato or disconnected speech output</a:t>
            </a:r>
            <a:endParaRPr lang="zh-CN" altLang="en-US" sz="1200" dirty="0"/>
          </a:p>
        </p:txBody>
      </p:sp>
      <p:sp>
        <p:nvSpPr>
          <p:cNvPr id="21" name="文本框 20">
            <a:extLst>
              <a:ext uri="{FF2B5EF4-FFF2-40B4-BE49-F238E27FC236}">
                <a16:creationId xmlns:a16="http://schemas.microsoft.com/office/drawing/2014/main" id="{9678D919-3121-7817-5B49-754B33DB30CD}"/>
              </a:ext>
            </a:extLst>
          </p:cNvPr>
          <p:cNvSpPr txBox="1"/>
          <p:nvPr/>
        </p:nvSpPr>
        <p:spPr>
          <a:xfrm>
            <a:off x="7912511" y="1256357"/>
            <a:ext cx="3348896" cy="1015663"/>
          </a:xfrm>
          <a:prstGeom prst="rect">
            <a:avLst/>
          </a:prstGeom>
          <a:noFill/>
        </p:spPr>
        <p:txBody>
          <a:bodyPr wrap="square" rtlCol="0">
            <a:spAutoFit/>
          </a:bodyPr>
          <a:lstStyle/>
          <a:p>
            <a:r>
              <a:rPr lang="en-US" altLang="zh-CN" sz="1200" b="0" i="0" dirty="0">
                <a:solidFill>
                  <a:srgbClr val="333333"/>
                </a:solidFill>
                <a:effectLst/>
              </a:rPr>
              <a:t>Different languages and accents have their own unique pronunciation rules and acoustic characteristics, and choosing the right engine can provide more accurate and natural speech output.</a:t>
            </a:r>
            <a:endParaRPr lang="zh-CN" altLang="en-US" sz="1200" dirty="0"/>
          </a:p>
        </p:txBody>
      </p:sp>
      <p:sp>
        <p:nvSpPr>
          <p:cNvPr id="22" name="文本框 21">
            <a:extLst>
              <a:ext uri="{FF2B5EF4-FFF2-40B4-BE49-F238E27FC236}">
                <a16:creationId xmlns:a16="http://schemas.microsoft.com/office/drawing/2014/main" id="{BFE18A24-2703-FC9A-0EBD-41F17BD5E669}"/>
              </a:ext>
            </a:extLst>
          </p:cNvPr>
          <p:cNvSpPr txBox="1"/>
          <p:nvPr/>
        </p:nvSpPr>
        <p:spPr>
          <a:xfrm>
            <a:off x="8791063" y="3078347"/>
            <a:ext cx="2762864" cy="1384995"/>
          </a:xfrm>
          <a:prstGeom prst="rect">
            <a:avLst/>
          </a:prstGeom>
          <a:noFill/>
        </p:spPr>
        <p:txBody>
          <a:bodyPr wrap="square" rtlCol="0">
            <a:spAutoFit/>
          </a:bodyPr>
          <a:lstStyle/>
          <a:p>
            <a:r>
              <a:rPr lang="en-US" altLang="zh-CN" sz="1200" b="0" i="0" dirty="0">
                <a:solidFill>
                  <a:srgbClr val="333333"/>
                </a:solidFill>
                <a:effectLst/>
              </a:rPr>
              <a:t>Keep an eye on the latest technology and research advances in speech synthesis, as well as methods for training using large data sets. These technologies can provide higher quality, more natural speech synthesis effects</a:t>
            </a:r>
            <a:endParaRPr lang="zh-CN" altLang="en-US" sz="1200" dirty="0"/>
          </a:p>
        </p:txBody>
      </p:sp>
      <p:sp>
        <p:nvSpPr>
          <p:cNvPr id="24" name="文本框 23">
            <a:extLst>
              <a:ext uri="{FF2B5EF4-FFF2-40B4-BE49-F238E27FC236}">
                <a16:creationId xmlns:a16="http://schemas.microsoft.com/office/drawing/2014/main" id="{73D4E417-B5B4-F68E-B3A3-9BC64F85327D}"/>
              </a:ext>
            </a:extLst>
          </p:cNvPr>
          <p:cNvSpPr txBox="1"/>
          <p:nvPr/>
        </p:nvSpPr>
        <p:spPr>
          <a:xfrm>
            <a:off x="8123213" y="4927182"/>
            <a:ext cx="3020477" cy="830997"/>
          </a:xfrm>
          <a:prstGeom prst="rect">
            <a:avLst/>
          </a:prstGeom>
          <a:noFill/>
        </p:spPr>
        <p:txBody>
          <a:bodyPr wrap="square" rtlCol="0">
            <a:spAutoFit/>
          </a:bodyPr>
          <a:lstStyle/>
          <a:p>
            <a:r>
              <a:rPr lang="en-US" altLang="zh-CN" sz="1200" dirty="0"/>
              <a:t>Through user feedback and evaluation, understand the performance of the speech synthesis system in different application scenarios</a:t>
            </a:r>
            <a:endParaRPr lang="zh-CN" altLang="en-US" sz="1200" dirty="0"/>
          </a:p>
        </p:txBody>
      </p:sp>
    </p:spTree>
    <p:custDataLst>
      <p:tags r:id="rId1"/>
    </p:custDataLst>
    <p:extLst>
      <p:ext uri="{BB962C8B-B14F-4D97-AF65-F5344CB8AC3E}">
        <p14:creationId xmlns:p14="http://schemas.microsoft.com/office/powerpoint/2010/main" val="171478641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BE764983-B94C-E3F8-1FA5-50D7EBAD1014}"/>
              </a:ext>
            </a:extLst>
          </p:cNvPr>
          <p:cNvSpPr>
            <a:spLocks noGrp="1"/>
          </p:cNvSpPr>
          <p:nvPr>
            <p:ph type="title"/>
          </p:nvPr>
        </p:nvSpPr>
        <p:spPr/>
        <p:txBody>
          <a:bodyPr/>
          <a:lstStyle/>
          <a:p>
            <a:r>
              <a:rPr lang="en-US" altLang="zh-CN" dirty="0"/>
              <a:t>Future Application</a:t>
            </a:r>
            <a:endParaRPr lang="zh-CN" altLang="en-US" dirty="0"/>
          </a:p>
        </p:txBody>
      </p:sp>
      <p:sp>
        <p:nvSpPr>
          <p:cNvPr id="4" name="灯片编号占位符 3">
            <a:extLst>
              <a:ext uri="{FF2B5EF4-FFF2-40B4-BE49-F238E27FC236}">
                <a16:creationId xmlns:a16="http://schemas.microsoft.com/office/drawing/2014/main" id="{C3CD5916-4617-AF80-601F-E1930CDB56B9}"/>
              </a:ext>
            </a:extLst>
          </p:cNvPr>
          <p:cNvSpPr>
            <a:spLocks noGrp="1"/>
          </p:cNvSpPr>
          <p:nvPr>
            <p:ph type="sldNum" sz="quarter" idx="12"/>
          </p:nvPr>
        </p:nvSpPr>
        <p:spPr/>
        <p:txBody>
          <a:bodyPr/>
          <a:lstStyle/>
          <a:p>
            <a:fld id="{5DD3DB80-B894-403A-B48E-6FDC1A72010E}" type="slidenum">
              <a:rPr lang="zh-CN" altLang="en-US" smtClean="0"/>
              <a:pPr/>
              <a:t>13</a:t>
            </a:fld>
            <a:endParaRPr lang="zh-CN" altLang="en-US"/>
          </a:p>
        </p:txBody>
      </p:sp>
      <p:grpSp>
        <p:nvGrpSpPr>
          <p:cNvPr id="5" name="组合 4">
            <a:extLst>
              <a:ext uri="{FF2B5EF4-FFF2-40B4-BE49-F238E27FC236}">
                <a16:creationId xmlns:a16="http://schemas.microsoft.com/office/drawing/2014/main" id="{ED989258-AE52-923F-A5DC-6C6D54E9A371}"/>
              </a:ext>
            </a:extLst>
          </p:cNvPr>
          <p:cNvGrpSpPr/>
          <p:nvPr/>
        </p:nvGrpSpPr>
        <p:grpSpPr>
          <a:xfrm>
            <a:off x="560134" y="514350"/>
            <a:ext cx="10643965" cy="5686918"/>
            <a:chOff x="638792" y="1274395"/>
            <a:chExt cx="10643965" cy="5686918"/>
          </a:xfrm>
        </p:grpSpPr>
        <p:sp>
          <p:nvSpPr>
            <p:cNvPr id="6" name="文本框 5">
              <a:extLst>
                <a:ext uri="{FF2B5EF4-FFF2-40B4-BE49-F238E27FC236}">
                  <a16:creationId xmlns:a16="http://schemas.microsoft.com/office/drawing/2014/main" id="{3CA5B80C-6913-F805-4A88-CEFD2FB457C3}"/>
                </a:ext>
              </a:extLst>
            </p:cNvPr>
            <p:cNvSpPr txBox="1"/>
            <p:nvPr/>
          </p:nvSpPr>
          <p:spPr>
            <a:xfrm>
              <a:off x="3958457" y="1274395"/>
              <a:ext cx="4275086" cy="1107996"/>
            </a:xfrm>
            <a:prstGeom prst="rect">
              <a:avLst/>
            </a:prstGeom>
            <a:noFill/>
          </p:spPr>
          <p:txBody>
            <a:bodyPr wrap="square">
              <a:spAutoFit/>
            </a:bodyPr>
            <a:lstStyle/>
            <a:p>
              <a:pPr marL="0" marR="0" lvl="0" indent="0" algn="ctr" defTabSz="913765" rtl="0" eaLnBrk="1" fontAlgn="auto" latinLnBrk="0" hangingPunct="1">
                <a:lnSpc>
                  <a:spcPct val="100000"/>
                </a:lnSpc>
                <a:spcBef>
                  <a:spcPts val="0"/>
                </a:spcBef>
                <a:spcAft>
                  <a:spcPts val="0"/>
                </a:spcAft>
                <a:buClrTx/>
                <a:buSzPct val="25000"/>
                <a:buFontTx/>
                <a:buNone/>
                <a:defRPr/>
              </a:pPr>
              <a:endParaRPr kumimoji="0" lang="en-US" altLang="zh-CN" sz="6600" b="1" i="0" u="none" strike="noStrike" kern="1200" cap="none" spc="0" normalizeH="0" baseline="0" noProof="0" dirty="0">
                <a:ln>
                  <a:noFill/>
                </a:ln>
                <a:effectLst/>
                <a:uLnTx/>
                <a:uFillTx/>
              </a:endParaRPr>
            </a:p>
          </p:txBody>
        </p:sp>
        <p:grpSp>
          <p:nvGrpSpPr>
            <p:cNvPr id="7" name="组合 6">
              <a:extLst>
                <a:ext uri="{FF2B5EF4-FFF2-40B4-BE49-F238E27FC236}">
                  <a16:creationId xmlns:a16="http://schemas.microsoft.com/office/drawing/2014/main" id="{413E807D-1BCC-8148-3891-4E48AE57B4C9}"/>
                </a:ext>
              </a:extLst>
            </p:cNvPr>
            <p:cNvGrpSpPr/>
            <p:nvPr/>
          </p:nvGrpSpPr>
          <p:grpSpPr>
            <a:xfrm>
              <a:off x="638792" y="2899136"/>
              <a:ext cx="10643965" cy="4062177"/>
              <a:chOff x="415921" y="2899136"/>
              <a:chExt cx="10643965" cy="4062177"/>
            </a:xfrm>
          </p:grpSpPr>
          <p:cxnSp>
            <p:nvCxnSpPr>
              <p:cNvPr id="8" name="直接连接符 7">
                <a:extLst>
                  <a:ext uri="{FF2B5EF4-FFF2-40B4-BE49-F238E27FC236}">
                    <a16:creationId xmlns:a16="http://schemas.microsoft.com/office/drawing/2014/main" id="{E77BFA88-FECF-734F-F41E-CAD6AFD2271B}"/>
                  </a:ext>
                </a:extLst>
              </p:cNvPr>
              <p:cNvCxnSpPr/>
              <p:nvPr/>
            </p:nvCxnSpPr>
            <p:spPr>
              <a:xfrm>
                <a:off x="686372" y="4339771"/>
                <a:ext cx="10373514"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grpSp>
            <p:nvGrpSpPr>
              <p:cNvPr id="9" name="组合 8">
                <a:extLst>
                  <a:ext uri="{FF2B5EF4-FFF2-40B4-BE49-F238E27FC236}">
                    <a16:creationId xmlns:a16="http://schemas.microsoft.com/office/drawing/2014/main" id="{A963AFF1-C06F-8149-6411-461C396B3E8D}"/>
                  </a:ext>
                </a:extLst>
              </p:cNvPr>
              <p:cNvGrpSpPr/>
              <p:nvPr/>
            </p:nvGrpSpPr>
            <p:grpSpPr>
              <a:xfrm>
                <a:off x="415921" y="2899136"/>
                <a:ext cx="2213544" cy="4062177"/>
                <a:chOff x="415921" y="2899136"/>
                <a:chExt cx="2213544" cy="4062177"/>
              </a:xfrm>
            </p:grpSpPr>
            <p:sp>
              <p:nvSpPr>
                <p:cNvPr id="30" name="文本框 29">
                  <a:extLst>
                    <a:ext uri="{FF2B5EF4-FFF2-40B4-BE49-F238E27FC236}">
                      <a16:creationId xmlns:a16="http://schemas.microsoft.com/office/drawing/2014/main" id="{80176153-B9AE-B513-14F4-D73AB01AA968}"/>
                    </a:ext>
                  </a:extLst>
                </p:cNvPr>
                <p:cNvSpPr txBox="1"/>
                <p:nvPr/>
              </p:nvSpPr>
              <p:spPr>
                <a:xfrm>
                  <a:off x="721376" y="2899136"/>
                  <a:ext cx="585417" cy="769441"/>
                </a:xfrm>
                <a:prstGeom prst="rect">
                  <a:avLst/>
                </a:prstGeom>
                <a:noFill/>
              </p:spPr>
              <p:txBody>
                <a:bodyPr wrap="square" rtlCol="0">
                  <a:spAutoFit/>
                </a:bodyPr>
                <a:lstStyle/>
                <a:p>
                  <a:pPr algn="ctr"/>
                  <a:r>
                    <a:rPr lang="en-US" altLang="zh-CN" sz="4400" b="1" dirty="0">
                      <a:solidFill>
                        <a:schemeClr val="accent1"/>
                      </a:solidFill>
                    </a:rPr>
                    <a:t>1</a:t>
                  </a:r>
                  <a:endParaRPr lang="zh-CN" altLang="en-US" sz="4400" b="1" dirty="0">
                    <a:solidFill>
                      <a:schemeClr val="accent1"/>
                    </a:solidFill>
                  </a:endParaRPr>
                </a:p>
              </p:txBody>
            </p:sp>
            <p:sp>
              <p:nvSpPr>
                <p:cNvPr id="31" name="文本框 30">
                  <a:extLst>
                    <a:ext uri="{FF2B5EF4-FFF2-40B4-BE49-F238E27FC236}">
                      <a16:creationId xmlns:a16="http://schemas.microsoft.com/office/drawing/2014/main" id="{FCE026E3-3226-3C8B-64A7-D2B1B5C61396}"/>
                    </a:ext>
                  </a:extLst>
                </p:cNvPr>
                <p:cNvSpPr txBox="1"/>
                <p:nvPr/>
              </p:nvSpPr>
              <p:spPr>
                <a:xfrm>
                  <a:off x="415921" y="3547076"/>
                  <a:ext cx="1708485" cy="738664"/>
                </a:xfrm>
                <a:prstGeom prst="rect">
                  <a:avLst/>
                </a:prstGeom>
                <a:noFill/>
              </p:spPr>
              <p:txBody>
                <a:bodyPr wrap="square" rtlCol="0">
                  <a:spAutoFit/>
                </a:bodyPr>
                <a:lstStyle/>
                <a:p>
                  <a:pPr algn="ctr"/>
                  <a:r>
                    <a:rPr lang="en-US" altLang="zh-CN" sz="1400" b="1" dirty="0">
                      <a:solidFill>
                        <a:schemeClr val="accent1"/>
                      </a:solidFill>
                    </a:rPr>
                    <a:t>Personalized assistants and avatars</a:t>
                  </a:r>
                </a:p>
              </p:txBody>
            </p:sp>
            <p:sp>
              <p:nvSpPr>
                <p:cNvPr id="32" name="文本框 31">
                  <a:extLst>
                    <a:ext uri="{FF2B5EF4-FFF2-40B4-BE49-F238E27FC236}">
                      <a16:creationId xmlns:a16="http://schemas.microsoft.com/office/drawing/2014/main" id="{BD9983A5-6DEF-22AE-1907-270A1099F66E}"/>
                    </a:ext>
                  </a:extLst>
                </p:cNvPr>
                <p:cNvSpPr txBox="1"/>
                <p:nvPr/>
              </p:nvSpPr>
              <p:spPr>
                <a:xfrm>
                  <a:off x="525712" y="4493265"/>
                  <a:ext cx="2103753" cy="2468048"/>
                </a:xfrm>
                <a:prstGeom prst="rect">
                  <a:avLst/>
                </a:prstGeom>
                <a:noFill/>
              </p:spPr>
              <p:txBody>
                <a:bodyPr wrap="square" rtlCol="0">
                  <a:spAutoFit/>
                </a:bodyPr>
                <a:lstStyle>
                  <a:defPPr>
                    <a:defRPr lang="zh-CN"/>
                  </a:defPPr>
                  <a:lvl1pPr>
                    <a:lnSpc>
                      <a:spcPts val="1500"/>
                    </a:lnSpc>
                    <a:defRPr sz="900"/>
                  </a:lvl1pPr>
                </a:lstStyle>
                <a:p>
                  <a:pPr>
                    <a:lnSpc>
                      <a:spcPct val="130000"/>
                    </a:lnSpc>
                  </a:pPr>
                  <a:r>
                    <a:rPr kumimoji="1" lang="en-US" altLang="zh-CN" sz="1200" dirty="0">
                      <a:solidFill>
                        <a:schemeClr val="tx1"/>
                      </a:solidFill>
                      <a:latin typeface="Arial" panose="020B0604020202020204" pitchFamily="34" charset="0"/>
                      <a:ea typeface="微软雅黑" panose="020B0503020204020204" pitchFamily="34" charset="-122"/>
                      <a:sym typeface="Arial" panose="020B0604020202020204" pitchFamily="34" charset="0"/>
                    </a:rPr>
                    <a:t>Text-to-speech enables voice and voice interaction for personalized assistants and avatars. Avatars in smart speakers, smartphones and virtual reality applications can communicate and interact with users using text-to-speech technology.</a:t>
                  </a:r>
                </a:p>
              </p:txBody>
            </p:sp>
            <p:sp>
              <p:nvSpPr>
                <p:cNvPr id="33" name="椭圆 32">
                  <a:extLst>
                    <a:ext uri="{FF2B5EF4-FFF2-40B4-BE49-F238E27FC236}">
                      <a16:creationId xmlns:a16="http://schemas.microsoft.com/office/drawing/2014/main" id="{6D0A6EF1-C9C4-5F98-2C1E-778718AA91F4}"/>
                    </a:ext>
                  </a:extLst>
                </p:cNvPr>
                <p:cNvSpPr/>
                <p:nvPr/>
              </p:nvSpPr>
              <p:spPr>
                <a:xfrm>
                  <a:off x="823584" y="4282621"/>
                  <a:ext cx="114300" cy="114300"/>
                </a:xfrm>
                <a:prstGeom prst="ellipse">
                  <a:avLst/>
                </a:prstGeom>
                <a:solidFill>
                  <a:schemeClr val="accent1"/>
                </a:solidFill>
                <a:ln w="12700" cap="rnd">
                  <a:noFill/>
                  <a:prstDash val="solid"/>
                  <a:round/>
                  <a:headEnd/>
                  <a:tailEnd/>
                </a:ln>
                <a:effectLst>
                  <a:outerShdw blurRad="254000" dist="127000" algn="ctr" rotWithShape="0">
                    <a:schemeClr val="accent3">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25000" lnSpcReduction="20000"/>
                </a:bodyPr>
                <a:lstStyle/>
                <a:p>
                  <a:pPr algn="ctr" defTabSz="914354"/>
                  <a:endParaRPr lang="zh-CN" altLang="en-US" sz="1600" b="1">
                    <a:solidFill>
                      <a:srgbClr val="FFFFFF"/>
                    </a:solidFill>
                  </a:endParaRPr>
                </a:p>
              </p:txBody>
            </p:sp>
          </p:grpSp>
          <p:grpSp>
            <p:nvGrpSpPr>
              <p:cNvPr id="10" name="组合 9">
                <a:extLst>
                  <a:ext uri="{FF2B5EF4-FFF2-40B4-BE49-F238E27FC236}">
                    <a16:creationId xmlns:a16="http://schemas.microsoft.com/office/drawing/2014/main" id="{238B74C7-7974-BFD3-A577-1CBEC6242BEC}"/>
                  </a:ext>
                </a:extLst>
              </p:cNvPr>
              <p:cNvGrpSpPr/>
              <p:nvPr/>
            </p:nvGrpSpPr>
            <p:grpSpPr>
              <a:xfrm>
                <a:off x="2383102" y="2899136"/>
                <a:ext cx="2103753" cy="3824814"/>
                <a:chOff x="2383102" y="2899136"/>
                <a:chExt cx="2103753" cy="3824814"/>
              </a:xfrm>
            </p:grpSpPr>
            <p:sp>
              <p:nvSpPr>
                <p:cNvPr id="26" name="文本框 25">
                  <a:extLst>
                    <a:ext uri="{FF2B5EF4-FFF2-40B4-BE49-F238E27FC236}">
                      <a16:creationId xmlns:a16="http://schemas.microsoft.com/office/drawing/2014/main" id="{9BFC1E2A-92DD-F63E-5D4E-2FA7E49EC07E}"/>
                    </a:ext>
                  </a:extLst>
                </p:cNvPr>
                <p:cNvSpPr txBox="1"/>
                <p:nvPr/>
              </p:nvSpPr>
              <p:spPr>
                <a:xfrm>
                  <a:off x="2753389" y="2899136"/>
                  <a:ext cx="585417" cy="769441"/>
                </a:xfrm>
                <a:prstGeom prst="rect">
                  <a:avLst/>
                </a:prstGeom>
                <a:noFill/>
              </p:spPr>
              <p:txBody>
                <a:bodyPr wrap="square" rtlCol="0">
                  <a:spAutoFit/>
                </a:bodyPr>
                <a:lstStyle/>
                <a:p>
                  <a:pPr algn="ctr"/>
                  <a:r>
                    <a:rPr lang="en-US" altLang="zh-CN" sz="4400" b="1" dirty="0">
                      <a:solidFill>
                        <a:schemeClr val="accent2"/>
                      </a:solidFill>
                    </a:rPr>
                    <a:t>2</a:t>
                  </a:r>
                  <a:endParaRPr lang="zh-CN" altLang="en-US" sz="4400" b="1" dirty="0">
                    <a:solidFill>
                      <a:schemeClr val="accent2"/>
                    </a:solidFill>
                  </a:endParaRPr>
                </a:p>
              </p:txBody>
            </p:sp>
            <p:sp>
              <p:nvSpPr>
                <p:cNvPr id="27" name="文本框 26">
                  <a:extLst>
                    <a:ext uri="{FF2B5EF4-FFF2-40B4-BE49-F238E27FC236}">
                      <a16:creationId xmlns:a16="http://schemas.microsoft.com/office/drawing/2014/main" id="{1225FB99-76A1-E35B-5BBD-343CC700D748}"/>
                    </a:ext>
                  </a:extLst>
                </p:cNvPr>
                <p:cNvSpPr txBox="1"/>
                <p:nvPr/>
              </p:nvSpPr>
              <p:spPr>
                <a:xfrm>
                  <a:off x="2414373" y="3543957"/>
                  <a:ext cx="1483260" cy="738664"/>
                </a:xfrm>
                <a:prstGeom prst="rect">
                  <a:avLst/>
                </a:prstGeom>
                <a:noFill/>
              </p:spPr>
              <p:txBody>
                <a:bodyPr wrap="square" rtlCol="0">
                  <a:spAutoFit/>
                </a:bodyPr>
                <a:lstStyle/>
                <a:p>
                  <a:pPr algn="ctr"/>
                  <a:r>
                    <a:rPr lang="en-US" altLang="zh-CN" sz="1400" b="1" dirty="0">
                      <a:solidFill>
                        <a:schemeClr val="accent2"/>
                      </a:solidFill>
                    </a:rPr>
                    <a:t>Speech assistance technology</a:t>
                  </a:r>
                </a:p>
              </p:txBody>
            </p:sp>
            <p:sp>
              <p:nvSpPr>
                <p:cNvPr id="28" name="文本框 27">
                  <a:extLst>
                    <a:ext uri="{FF2B5EF4-FFF2-40B4-BE49-F238E27FC236}">
                      <a16:creationId xmlns:a16="http://schemas.microsoft.com/office/drawing/2014/main" id="{A36F6968-EA86-BB17-CCAB-BA64C8318636}"/>
                    </a:ext>
                  </a:extLst>
                </p:cNvPr>
                <p:cNvSpPr txBox="1"/>
                <p:nvPr/>
              </p:nvSpPr>
              <p:spPr>
                <a:xfrm>
                  <a:off x="2383102" y="4495968"/>
                  <a:ext cx="2103753" cy="2227982"/>
                </a:xfrm>
                <a:prstGeom prst="rect">
                  <a:avLst/>
                </a:prstGeom>
                <a:noFill/>
              </p:spPr>
              <p:txBody>
                <a:bodyPr wrap="square" rtlCol="0">
                  <a:spAutoFit/>
                </a:bodyPr>
                <a:lstStyle>
                  <a:defPPr>
                    <a:defRPr lang="zh-CN"/>
                  </a:defPPr>
                  <a:lvl1pPr>
                    <a:lnSpc>
                      <a:spcPts val="1500"/>
                    </a:lnSpc>
                    <a:defRPr sz="900"/>
                  </a:lvl1pPr>
                </a:lstStyle>
                <a:p>
                  <a:pPr>
                    <a:lnSpc>
                      <a:spcPct val="130000"/>
                    </a:lnSpc>
                  </a:pPr>
                  <a:r>
                    <a:rPr kumimoji="1" lang="en-US" altLang="zh-CN" sz="1200" dirty="0">
                      <a:solidFill>
                        <a:schemeClr val="tx1"/>
                      </a:solidFill>
                      <a:latin typeface="Arial" panose="020B0604020202020204" pitchFamily="34" charset="0"/>
                      <a:ea typeface="微软雅黑" panose="020B0503020204020204" pitchFamily="34" charset="-122"/>
                      <a:sym typeface="Arial" panose="020B0604020202020204" pitchFamily="34" charset="0"/>
                    </a:rPr>
                    <a:t>Future apps could help these populations better interact with their digital and physical environments by converting text to speech and providing real-time on-screen reading, voice prompts and voice navigation.</a:t>
                  </a:r>
                </a:p>
              </p:txBody>
            </p:sp>
            <p:sp>
              <p:nvSpPr>
                <p:cNvPr id="29" name="椭圆 28">
                  <a:extLst>
                    <a:ext uri="{FF2B5EF4-FFF2-40B4-BE49-F238E27FC236}">
                      <a16:creationId xmlns:a16="http://schemas.microsoft.com/office/drawing/2014/main" id="{71F56C58-5CB3-F513-028B-EAA299D5644F}"/>
                    </a:ext>
                  </a:extLst>
                </p:cNvPr>
                <p:cNvSpPr/>
                <p:nvPr/>
              </p:nvSpPr>
              <p:spPr>
                <a:xfrm>
                  <a:off x="2897944" y="4282621"/>
                  <a:ext cx="114300" cy="114300"/>
                </a:xfrm>
                <a:prstGeom prst="ellipse">
                  <a:avLst/>
                </a:prstGeom>
                <a:solidFill>
                  <a:schemeClr val="accent2"/>
                </a:solidFill>
                <a:ln w="12700" cap="rnd">
                  <a:noFill/>
                  <a:prstDash val="solid"/>
                  <a:round/>
                  <a:headEnd/>
                  <a:tailEnd/>
                </a:ln>
                <a:effectLst>
                  <a:outerShdw blurRad="254000" dist="127000" algn="ctr" rotWithShape="0">
                    <a:schemeClr val="accent2">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25000" lnSpcReduction="20000"/>
                </a:bodyPr>
                <a:lstStyle/>
                <a:p>
                  <a:pPr algn="ctr" defTabSz="914354"/>
                  <a:endParaRPr lang="zh-CN" altLang="en-US" sz="2000" b="1">
                    <a:solidFill>
                      <a:schemeClr val="bg1"/>
                    </a:solidFill>
                  </a:endParaRPr>
                </a:p>
              </p:txBody>
            </p:sp>
          </p:grpSp>
          <p:grpSp>
            <p:nvGrpSpPr>
              <p:cNvPr id="11" name="组合 10">
                <a:extLst>
                  <a:ext uri="{FF2B5EF4-FFF2-40B4-BE49-F238E27FC236}">
                    <a16:creationId xmlns:a16="http://schemas.microsoft.com/office/drawing/2014/main" id="{088D9CDD-DB2E-6D77-B0D2-C3867033316E}"/>
                  </a:ext>
                </a:extLst>
              </p:cNvPr>
              <p:cNvGrpSpPr/>
              <p:nvPr/>
            </p:nvGrpSpPr>
            <p:grpSpPr>
              <a:xfrm>
                <a:off x="4445527" y="2899136"/>
                <a:ext cx="2120669" cy="3797593"/>
                <a:chOff x="4445527" y="2899136"/>
                <a:chExt cx="2120669" cy="3797593"/>
              </a:xfrm>
            </p:grpSpPr>
            <p:sp>
              <p:nvSpPr>
                <p:cNvPr id="22" name="文本框 21">
                  <a:extLst>
                    <a:ext uri="{FF2B5EF4-FFF2-40B4-BE49-F238E27FC236}">
                      <a16:creationId xmlns:a16="http://schemas.microsoft.com/office/drawing/2014/main" id="{54D5E171-4BBE-7EC7-B630-625D596AD3D8}"/>
                    </a:ext>
                  </a:extLst>
                </p:cNvPr>
                <p:cNvSpPr txBox="1"/>
                <p:nvPr/>
              </p:nvSpPr>
              <p:spPr>
                <a:xfrm>
                  <a:off x="4816927" y="2899136"/>
                  <a:ext cx="585417" cy="769441"/>
                </a:xfrm>
                <a:prstGeom prst="rect">
                  <a:avLst/>
                </a:prstGeom>
                <a:noFill/>
              </p:spPr>
              <p:txBody>
                <a:bodyPr wrap="square" rtlCol="0">
                  <a:spAutoFit/>
                </a:bodyPr>
                <a:lstStyle/>
                <a:p>
                  <a:pPr algn="ctr"/>
                  <a:r>
                    <a:rPr lang="en-US" altLang="zh-CN" sz="4400" b="1" dirty="0">
                      <a:solidFill>
                        <a:schemeClr val="accent3"/>
                      </a:solidFill>
                    </a:rPr>
                    <a:t>3</a:t>
                  </a:r>
                  <a:endParaRPr lang="zh-CN" altLang="en-US" sz="4400" b="1" dirty="0">
                    <a:solidFill>
                      <a:schemeClr val="accent3"/>
                    </a:solidFill>
                  </a:endParaRPr>
                </a:p>
              </p:txBody>
            </p:sp>
            <p:sp>
              <p:nvSpPr>
                <p:cNvPr id="23" name="文本框 22">
                  <a:extLst>
                    <a:ext uri="{FF2B5EF4-FFF2-40B4-BE49-F238E27FC236}">
                      <a16:creationId xmlns:a16="http://schemas.microsoft.com/office/drawing/2014/main" id="{DA7F55E1-6865-0935-28C5-C1D680D10A91}"/>
                    </a:ext>
                  </a:extLst>
                </p:cNvPr>
                <p:cNvSpPr txBox="1"/>
                <p:nvPr/>
              </p:nvSpPr>
              <p:spPr>
                <a:xfrm>
                  <a:off x="4445527" y="3514664"/>
                  <a:ext cx="1797404" cy="738664"/>
                </a:xfrm>
                <a:prstGeom prst="rect">
                  <a:avLst/>
                </a:prstGeom>
                <a:noFill/>
              </p:spPr>
              <p:txBody>
                <a:bodyPr wrap="square" rtlCol="0">
                  <a:spAutoFit/>
                </a:bodyPr>
                <a:lstStyle/>
                <a:p>
                  <a:pPr algn="ctr"/>
                  <a:r>
                    <a:rPr lang="en-US" altLang="zh-CN" sz="1400" b="1" dirty="0">
                      <a:solidFill>
                        <a:schemeClr val="accent3"/>
                      </a:solidFill>
                    </a:rPr>
                    <a:t>Multilingual and interlingual communication</a:t>
                  </a:r>
                </a:p>
              </p:txBody>
            </p:sp>
            <p:sp>
              <p:nvSpPr>
                <p:cNvPr id="24" name="文本框 23">
                  <a:extLst>
                    <a:ext uri="{FF2B5EF4-FFF2-40B4-BE49-F238E27FC236}">
                      <a16:creationId xmlns:a16="http://schemas.microsoft.com/office/drawing/2014/main" id="{52D6CCAF-0042-06F8-84D7-790A68A58BC0}"/>
                    </a:ext>
                  </a:extLst>
                </p:cNvPr>
                <p:cNvSpPr txBox="1"/>
                <p:nvPr/>
              </p:nvSpPr>
              <p:spPr>
                <a:xfrm>
                  <a:off x="4511267" y="4468747"/>
                  <a:ext cx="2054929" cy="2227982"/>
                </a:xfrm>
                <a:prstGeom prst="rect">
                  <a:avLst/>
                </a:prstGeom>
                <a:noFill/>
              </p:spPr>
              <p:txBody>
                <a:bodyPr wrap="square" rtlCol="0">
                  <a:spAutoFit/>
                </a:bodyPr>
                <a:lstStyle>
                  <a:defPPr>
                    <a:defRPr lang="zh-CN"/>
                  </a:defPPr>
                  <a:lvl1pPr>
                    <a:lnSpc>
                      <a:spcPts val="1500"/>
                    </a:lnSpc>
                    <a:defRPr sz="900"/>
                  </a:lvl1pPr>
                </a:lstStyle>
                <a:p>
                  <a:pPr>
                    <a:lnSpc>
                      <a:spcPct val="130000"/>
                    </a:lnSpc>
                  </a:pPr>
                  <a:r>
                    <a:rPr kumimoji="1" lang="en-US" altLang="zh-CN" sz="1200" dirty="0">
                      <a:solidFill>
                        <a:schemeClr val="tx1"/>
                      </a:solidFill>
                      <a:latin typeface="Arial" panose="020B0604020202020204" pitchFamily="34" charset="0"/>
                      <a:ea typeface="微软雅黑" panose="020B0503020204020204" pitchFamily="34" charset="-122"/>
                      <a:sym typeface="Arial" panose="020B0604020202020204" pitchFamily="34" charset="0"/>
                    </a:rPr>
                    <a:t>It can convert text to speech in real time and provides speech translation capabilities to support different languages. This can promote communication and understanding between different languages.</a:t>
                  </a:r>
                </a:p>
              </p:txBody>
            </p:sp>
            <p:sp>
              <p:nvSpPr>
                <p:cNvPr id="25" name="椭圆 24">
                  <a:extLst>
                    <a:ext uri="{FF2B5EF4-FFF2-40B4-BE49-F238E27FC236}">
                      <a16:creationId xmlns:a16="http://schemas.microsoft.com/office/drawing/2014/main" id="{11DA2A23-CE60-BD2B-18FD-60FDA1E38A10}"/>
                    </a:ext>
                  </a:extLst>
                </p:cNvPr>
                <p:cNvSpPr/>
                <p:nvPr/>
              </p:nvSpPr>
              <p:spPr>
                <a:xfrm>
                  <a:off x="4972304" y="4282621"/>
                  <a:ext cx="114300" cy="114300"/>
                </a:xfrm>
                <a:prstGeom prst="ellipse">
                  <a:avLst/>
                </a:prstGeom>
                <a:solidFill>
                  <a:schemeClr val="accent3"/>
                </a:solidFill>
                <a:ln w="12700" cap="rnd">
                  <a:noFill/>
                  <a:prstDash val="solid"/>
                  <a:round/>
                  <a:headEnd/>
                  <a:tailEnd/>
                </a:ln>
                <a:effectLst>
                  <a:outerShdw blurRad="254000" dist="127000" algn="ctr" rotWithShape="0">
                    <a:schemeClr val="accent5">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25000" lnSpcReduction="20000"/>
                </a:bodyPr>
                <a:lstStyle/>
                <a:p>
                  <a:pPr algn="ctr" defTabSz="914354"/>
                  <a:endParaRPr lang="zh-CN" altLang="en-US" sz="2000" b="1">
                    <a:solidFill>
                      <a:srgbClr val="FFFFFF"/>
                    </a:solidFill>
                  </a:endParaRPr>
                </a:p>
              </p:txBody>
            </p:sp>
          </p:grpSp>
          <p:grpSp>
            <p:nvGrpSpPr>
              <p:cNvPr id="12" name="组合 11">
                <a:extLst>
                  <a:ext uri="{FF2B5EF4-FFF2-40B4-BE49-F238E27FC236}">
                    <a16:creationId xmlns:a16="http://schemas.microsoft.com/office/drawing/2014/main" id="{C3FE749B-DF7C-FBD7-9C9B-F480ECD38F3E}"/>
                  </a:ext>
                </a:extLst>
              </p:cNvPr>
              <p:cNvGrpSpPr/>
              <p:nvPr/>
            </p:nvGrpSpPr>
            <p:grpSpPr>
              <a:xfrm>
                <a:off x="6566196" y="2899136"/>
                <a:ext cx="2054929" cy="4041973"/>
                <a:chOff x="6566196" y="2899136"/>
                <a:chExt cx="2054929" cy="4041973"/>
              </a:xfrm>
            </p:grpSpPr>
            <p:sp>
              <p:nvSpPr>
                <p:cNvPr id="18" name="文本框 17">
                  <a:extLst>
                    <a:ext uri="{FF2B5EF4-FFF2-40B4-BE49-F238E27FC236}">
                      <a16:creationId xmlns:a16="http://schemas.microsoft.com/office/drawing/2014/main" id="{6087A6A5-CEDE-C5E8-78C2-5140BE0A37A7}"/>
                    </a:ext>
                  </a:extLst>
                </p:cNvPr>
                <p:cNvSpPr txBox="1"/>
                <p:nvPr/>
              </p:nvSpPr>
              <p:spPr>
                <a:xfrm>
                  <a:off x="6915469" y="2899136"/>
                  <a:ext cx="585417" cy="769441"/>
                </a:xfrm>
                <a:prstGeom prst="rect">
                  <a:avLst/>
                </a:prstGeom>
                <a:noFill/>
              </p:spPr>
              <p:txBody>
                <a:bodyPr wrap="square" rtlCol="0">
                  <a:spAutoFit/>
                </a:bodyPr>
                <a:lstStyle/>
                <a:p>
                  <a:pPr algn="ctr"/>
                  <a:r>
                    <a:rPr lang="en-US" altLang="zh-CN" sz="4400" b="1" dirty="0">
                      <a:solidFill>
                        <a:schemeClr val="accent4"/>
                      </a:solidFill>
                    </a:rPr>
                    <a:t>4</a:t>
                  </a:r>
                  <a:endParaRPr lang="zh-CN" altLang="en-US" sz="4400" b="1" dirty="0">
                    <a:solidFill>
                      <a:schemeClr val="accent4"/>
                    </a:solidFill>
                  </a:endParaRPr>
                </a:p>
              </p:txBody>
            </p:sp>
            <p:sp>
              <p:nvSpPr>
                <p:cNvPr id="19" name="文本框 18">
                  <a:extLst>
                    <a:ext uri="{FF2B5EF4-FFF2-40B4-BE49-F238E27FC236}">
                      <a16:creationId xmlns:a16="http://schemas.microsoft.com/office/drawing/2014/main" id="{2B72142E-098D-083A-F390-A7A905DB32AC}"/>
                    </a:ext>
                  </a:extLst>
                </p:cNvPr>
                <p:cNvSpPr txBox="1"/>
                <p:nvPr/>
              </p:nvSpPr>
              <p:spPr>
                <a:xfrm>
                  <a:off x="6710401" y="3514664"/>
                  <a:ext cx="1322526" cy="738664"/>
                </a:xfrm>
                <a:prstGeom prst="rect">
                  <a:avLst/>
                </a:prstGeom>
                <a:noFill/>
              </p:spPr>
              <p:txBody>
                <a:bodyPr wrap="square" rtlCol="0">
                  <a:spAutoFit/>
                </a:bodyPr>
                <a:lstStyle/>
                <a:p>
                  <a:pPr algn="ctr"/>
                  <a:r>
                    <a:rPr lang="en-US" altLang="zh-CN" sz="1400" b="1" dirty="0">
                      <a:solidFill>
                        <a:schemeClr val="accent4"/>
                      </a:solidFill>
                    </a:rPr>
                    <a:t>Media and entertainment experiences</a:t>
                  </a:r>
                </a:p>
              </p:txBody>
            </p:sp>
            <p:sp>
              <p:nvSpPr>
                <p:cNvPr id="20" name="文本框 19">
                  <a:extLst>
                    <a:ext uri="{FF2B5EF4-FFF2-40B4-BE49-F238E27FC236}">
                      <a16:creationId xmlns:a16="http://schemas.microsoft.com/office/drawing/2014/main" id="{54E5641B-42A4-296A-A5EE-C49085E819A2}"/>
                    </a:ext>
                  </a:extLst>
                </p:cNvPr>
                <p:cNvSpPr txBox="1"/>
                <p:nvPr/>
              </p:nvSpPr>
              <p:spPr>
                <a:xfrm>
                  <a:off x="6566196" y="4473061"/>
                  <a:ext cx="2054929" cy="2468048"/>
                </a:xfrm>
                <a:prstGeom prst="rect">
                  <a:avLst/>
                </a:prstGeom>
                <a:noFill/>
              </p:spPr>
              <p:txBody>
                <a:bodyPr wrap="square" rtlCol="0">
                  <a:spAutoFit/>
                </a:bodyPr>
                <a:lstStyle>
                  <a:defPPr>
                    <a:defRPr lang="zh-CN"/>
                  </a:defPPr>
                  <a:lvl1pPr>
                    <a:lnSpc>
                      <a:spcPts val="1500"/>
                    </a:lnSpc>
                    <a:defRPr sz="900"/>
                  </a:lvl1pPr>
                </a:lstStyle>
                <a:p>
                  <a:pPr>
                    <a:lnSpc>
                      <a:spcPct val="130000"/>
                    </a:lnSpc>
                  </a:pPr>
                  <a:r>
                    <a:rPr kumimoji="1" lang="en-US" altLang="zh-CN" sz="1200" dirty="0">
                      <a:solidFill>
                        <a:schemeClr val="tx1"/>
                      </a:solidFill>
                      <a:latin typeface="Arial" panose="020B0604020202020204" pitchFamily="34" charset="0"/>
                      <a:ea typeface="微软雅黑" panose="020B0503020204020204" pitchFamily="34" charset="-122"/>
                      <a:sym typeface="Arial" panose="020B0604020202020204" pitchFamily="34" charset="0"/>
                    </a:rPr>
                    <a:t>In the realm of e-readers and audio books, text-to-speech converts book content into audio playback. In games and virtual reality, text-to-speech technology can give voice and interaction capabilities to characters and virtual worlds.</a:t>
                  </a:r>
                </a:p>
              </p:txBody>
            </p:sp>
            <p:sp>
              <p:nvSpPr>
                <p:cNvPr id="21" name="椭圆 20">
                  <a:extLst>
                    <a:ext uri="{FF2B5EF4-FFF2-40B4-BE49-F238E27FC236}">
                      <a16:creationId xmlns:a16="http://schemas.microsoft.com/office/drawing/2014/main" id="{AFA89893-EC1E-CA9E-6DB0-2A8C2001CD49}"/>
                    </a:ext>
                  </a:extLst>
                </p:cNvPr>
                <p:cNvSpPr/>
                <p:nvPr/>
              </p:nvSpPr>
              <p:spPr>
                <a:xfrm>
                  <a:off x="7046664" y="4282621"/>
                  <a:ext cx="114300" cy="114300"/>
                </a:xfrm>
                <a:prstGeom prst="ellipse">
                  <a:avLst/>
                </a:prstGeom>
                <a:solidFill>
                  <a:schemeClr val="accent4"/>
                </a:solidFill>
                <a:ln w="12700" cap="rnd">
                  <a:noFill/>
                  <a:prstDash val="solid"/>
                  <a:round/>
                  <a:headEnd/>
                  <a:tailEnd/>
                </a:ln>
                <a:effectLst>
                  <a:outerShdw blurRad="254000" dist="127000" algn="ctr" rotWithShape="0">
                    <a:schemeClr val="accent4">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25000" lnSpcReduction="20000"/>
                </a:bodyPr>
                <a:lstStyle/>
                <a:p>
                  <a:pPr algn="ctr" defTabSz="914354"/>
                  <a:endParaRPr lang="zh-CN" altLang="en-US" sz="2000" b="1">
                    <a:solidFill>
                      <a:schemeClr val="bg1"/>
                    </a:solidFill>
                  </a:endParaRPr>
                </a:p>
              </p:txBody>
            </p:sp>
          </p:grpSp>
          <p:grpSp>
            <p:nvGrpSpPr>
              <p:cNvPr id="13" name="组合 12">
                <a:extLst>
                  <a:ext uri="{FF2B5EF4-FFF2-40B4-BE49-F238E27FC236}">
                    <a16:creationId xmlns:a16="http://schemas.microsoft.com/office/drawing/2014/main" id="{4A726EBA-055B-9A44-D40F-BCA82C6DCB12}"/>
                  </a:ext>
                </a:extLst>
              </p:cNvPr>
              <p:cNvGrpSpPr/>
              <p:nvPr/>
            </p:nvGrpSpPr>
            <p:grpSpPr>
              <a:xfrm>
                <a:off x="8715961" y="2899136"/>
                <a:ext cx="2103753" cy="4041973"/>
                <a:chOff x="8715961" y="2899136"/>
                <a:chExt cx="2103753" cy="4041973"/>
              </a:xfrm>
            </p:grpSpPr>
            <p:sp>
              <p:nvSpPr>
                <p:cNvPr id="14" name="文本框 13">
                  <a:extLst>
                    <a:ext uri="{FF2B5EF4-FFF2-40B4-BE49-F238E27FC236}">
                      <a16:creationId xmlns:a16="http://schemas.microsoft.com/office/drawing/2014/main" id="{781973E5-B787-BE9D-EA8F-04962CBA78DF}"/>
                    </a:ext>
                  </a:extLst>
                </p:cNvPr>
                <p:cNvSpPr txBox="1"/>
                <p:nvPr/>
              </p:nvSpPr>
              <p:spPr>
                <a:xfrm>
                  <a:off x="9047961" y="2899136"/>
                  <a:ext cx="585417" cy="769441"/>
                </a:xfrm>
                <a:prstGeom prst="rect">
                  <a:avLst/>
                </a:prstGeom>
                <a:noFill/>
              </p:spPr>
              <p:txBody>
                <a:bodyPr wrap="square" rtlCol="0">
                  <a:spAutoFit/>
                </a:bodyPr>
                <a:lstStyle/>
                <a:p>
                  <a:pPr algn="ctr"/>
                  <a:r>
                    <a:rPr lang="en-US" altLang="zh-CN" sz="4400" b="1" dirty="0">
                      <a:solidFill>
                        <a:schemeClr val="accent6"/>
                      </a:solidFill>
                    </a:rPr>
                    <a:t>5</a:t>
                  </a:r>
                  <a:endParaRPr lang="zh-CN" altLang="en-US" sz="4400" b="1" dirty="0">
                    <a:solidFill>
                      <a:schemeClr val="accent6"/>
                    </a:solidFill>
                  </a:endParaRPr>
                </a:p>
              </p:txBody>
            </p:sp>
            <p:sp>
              <p:nvSpPr>
                <p:cNvPr id="15" name="文本框 14">
                  <a:extLst>
                    <a:ext uri="{FF2B5EF4-FFF2-40B4-BE49-F238E27FC236}">
                      <a16:creationId xmlns:a16="http://schemas.microsoft.com/office/drawing/2014/main" id="{79E7EF9F-8C9E-F5D3-EBB8-0D98637E0F78}"/>
                    </a:ext>
                  </a:extLst>
                </p:cNvPr>
                <p:cNvSpPr txBox="1"/>
                <p:nvPr/>
              </p:nvSpPr>
              <p:spPr>
                <a:xfrm>
                  <a:off x="8715961" y="3543957"/>
                  <a:ext cx="1489970" cy="738664"/>
                </a:xfrm>
                <a:prstGeom prst="rect">
                  <a:avLst/>
                </a:prstGeom>
                <a:noFill/>
              </p:spPr>
              <p:txBody>
                <a:bodyPr wrap="square" rtlCol="0">
                  <a:spAutoFit/>
                </a:bodyPr>
                <a:lstStyle/>
                <a:p>
                  <a:pPr algn="ctr"/>
                  <a:r>
                    <a:rPr lang="en-US" altLang="zh-CN" sz="1400" b="1" dirty="0">
                      <a:solidFill>
                        <a:schemeClr val="accent6"/>
                      </a:solidFill>
                    </a:rPr>
                    <a:t>Customize broadcast and media content</a:t>
                  </a:r>
                </a:p>
              </p:txBody>
            </p:sp>
            <p:sp>
              <p:nvSpPr>
                <p:cNvPr id="16" name="文本框 15">
                  <a:extLst>
                    <a:ext uri="{FF2B5EF4-FFF2-40B4-BE49-F238E27FC236}">
                      <a16:creationId xmlns:a16="http://schemas.microsoft.com/office/drawing/2014/main" id="{9E9C3313-3B59-D9D2-CE8A-29B62D1C0C78}"/>
                    </a:ext>
                  </a:extLst>
                </p:cNvPr>
                <p:cNvSpPr txBox="1"/>
                <p:nvPr/>
              </p:nvSpPr>
              <p:spPr>
                <a:xfrm>
                  <a:off x="8715961" y="4473061"/>
                  <a:ext cx="2103753" cy="2468048"/>
                </a:xfrm>
                <a:prstGeom prst="rect">
                  <a:avLst/>
                </a:prstGeom>
                <a:noFill/>
              </p:spPr>
              <p:txBody>
                <a:bodyPr wrap="square" rtlCol="0">
                  <a:spAutoFit/>
                </a:bodyPr>
                <a:lstStyle>
                  <a:defPPr>
                    <a:defRPr lang="zh-CN"/>
                  </a:defPPr>
                  <a:lvl1pPr>
                    <a:lnSpc>
                      <a:spcPts val="1500"/>
                    </a:lnSpc>
                    <a:defRPr sz="900"/>
                  </a:lvl1pPr>
                </a:lstStyle>
                <a:p>
                  <a:pPr>
                    <a:lnSpc>
                      <a:spcPct val="130000"/>
                    </a:lnSpc>
                  </a:pPr>
                  <a:r>
                    <a:rPr kumimoji="1" lang="en-US" altLang="zh-CN" sz="1200" dirty="0">
                      <a:solidFill>
                        <a:schemeClr val="tx1"/>
                      </a:solidFill>
                      <a:latin typeface="Arial" panose="020B0604020202020204" pitchFamily="34" charset="0"/>
                      <a:ea typeface="微软雅黑" panose="020B0503020204020204" pitchFamily="34" charset="-122"/>
                      <a:sym typeface="Arial" panose="020B0604020202020204" pitchFamily="34" charset="0"/>
                    </a:rPr>
                    <a:t>Text-to-speech can be used for customized broadcast and media content generation. By converting text to speech, users can be offered personalized content such as news, podcasts, audio books and radio programs, tailored to their interests and preferences.</a:t>
                  </a:r>
                </a:p>
              </p:txBody>
            </p:sp>
            <p:sp>
              <p:nvSpPr>
                <p:cNvPr id="17" name="椭圆 16">
                  <a:extLst>
                    <a:ext uri="{FF2B5EF4-FFF2-40B4-BE49-F238E27FC236}">
                      <a16:creationId xmlns:a16="http://schemas.microsoft.com/office/drawing/2014/main" id="{585664FC-9433-0553-D47D-9805BF91DB30}"/>
                    </a:ext>
                  </a:extLst>
                </p:cNvPr>
                <p:cNvSpPr/>
                <p:nvPr/>
              </p:nvSpPr>
              <p:spPr>
                <a:xfrm>
                  <a:off x="9121024" y="4282621"/>
                  <a:ext cx="114300" cy="114300"/>
                </a:xfrm>
                <a:prstGeom prst="ellipse">
                  <a:avLst/>
                </a:prstGeom>
                <a:solidFill>
                  <a:schemeClr val="accent6"/>
                </a:solidFill>
                <a:ln w="12700" cap="rnd">
                  <a:noFill/>
                  <a:prstDash val="solid"/>
                  <a:round/>
                  <a:headEnd/>
                  <a:tailEnd/>
                </a:ln>
                <a:effectLst>
                  <a:outerShdw blurRad="254000" dist="127000" algn="ctr" rotWithShape="0">
                    <a:schemeClr val="accent6">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25000" lnSpcReduction="20000"/>
                </a:bodyPr>
                <a:lstStyle/>
                <a:p>
                  <a:pPr algn="ctr" defTabSz="914354"/>
                  <a:endParaRPr lang="zh-CN" altLang="en-US" sz="2000" b="1">
                    <a:solidFill>
                      <a:schemeClr val="bg1"/>
                    </a:solidFill>
                  </a:endParaRPr>
                </a:p>
              </p:txBody>
            </p:sp>
          </p:grpSp>
        </p:grpSp>
      </p:grpSp>
    </p:spTree>
    <p:custDataLst>
      <p:tags r:id="rId1"/>
    </p:custDataLst>
    <p:extLst>
      <p:ext uri="{BB962C8B-B14F-4D97-AF65-F5344CB8AC3E}">
        <p14:creationId xmlns:p14="http://schemas.microsoft.com/office/powerpoint/2010/main" val="29090119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A6A819F1-33AF-45D7-8BF6-2B0A9769CAD4}"/>
              </a:ext>
            </a:extLst>
          </p:cNvPr>
          <p:cNvGraphicFramePr>
            <a:graphicFrameLocks noChangeAspect="1"/>
          </p:cNvGraphicFramePr>
          <p:nvPr>
            <p:extLst>
              <p:ext uri="{D42A27DB-BD31-4B8C-83A1-F6EECF244321}">
                <p14:modId xmlns:p14="http://schemas.microsoft.com/office/powerpoint/2010/main" val="1096986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对象 2" hidden="1">
                        <a:extLst>
                          <a:ext uri="{FF2B5EF4-FFF2-40B4-BE49-F238E27FC236}">
                            <a16:creationId xmlns:a16="http://schemas.microsoft.com/office/drawing/2014/main" id="{A6A819F1-33AF-45D7-8BF6-2B0A9769CA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FF51F16D-1BAD-46EE-A6F4-B8B94C9DF628}"/>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标题 4"/>
          <p:cNvSpPr>
            <a:spLocks noGrp="1"/>
          </p:cNvSpPr>
          <p:nvPr>
            <p:ph type="ctrTitle"/>
          </p:nvPr>
        </p:nvSpPr>
        <p:spPr/>
        <p:txBody>
          <a:bodyPr/>
          <a:lstStyle/>
          <a:p>
            <a:r>
              <a:rPr lang="en-US" altLang="zh-CN" dirty="0"/>
              <a:t>Thank for </a:t>
            </a:r>
            <a:br>
              <a:rPr lang="en-US" altLang="zh-CN" dirty="0"/>
            </a:br>
            <a:r>
              <a:rPr lang="en-US" altLang="zh-CN" dirty="0"/>
              <a:t>your listening</a:t>
            </a:r>
            <a:br>
              <a:rPr lang="en-US" altLang="zh-CN" dirty="0"/>
            </a:br>
            <a:endParaRPr lang="zh-CN" altLang="en-US" dirty="0"/>
          </a:p>
        </p:txBody>
      </p:sp>
    </p:spTree>
    <p:custDataLst>
      <p:tags r:id="rId2"/>
    </p:custDataLst>
    <p:extLst>
      <p:ext uri="{BB962C8B-B14F-4D97-AF65-F5344CB8AC3E}">
        <p14:creationId xmlns:p14="http://schemas.microsoft.com/office/powerpoint/2010/main" val="12590430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a:extLst>
              <a:ext uri="{FF2B5EF4-FFF2-40B4-BE49-F238E27FC236}">
                <a16:creationId xmlns:a16="http://schemas.microsoft.com/office/drawing/2014/main" id="{C0498D3A-B738-48EC-A39C-94C58B88932B}"/>
              </a:ext>
            </a:extLst>
          </p:cNvPr>
          <p:cNvGrpSpPr/>
          <p:nvPr/>
        </p:nvGrpSpPr>
        <p:grpSpPr>
          <a:xfrm>
            <a:off x="757282" y="1700808"/>
            <a:ext cx="10763205" cy="4083608"/>
            <a:chOff x="757282" y="1700808"/>
            <a:chExt cx="10763205" cy="4083608"/>
          </a:xfrm>
        </p:grpSpPr>
        <p:grpSp>
          <p:nvGrpSpPr>
            <p:cNvPr id="6" name="2b751056-6b97-492c-b763-340acee7e99d"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A759C196-DA28-4241-ABB5-975367026FE9}"/>
                </a:ext>
              </a:extLst>
            </p:cNvPr>
            <p:cNvGrpSpPr>
              <a:grpSpLocks noChangeAspect="1"/>
            </p:cNvGrpSpPr>
            <p:nvPr/>
          </p:nvGrpSpPr>
          <p:grpSpPr>
            <a:xfrm>
              <a:off x="757282" y="1700808"/>
              <a:ext cx="10763205" cy="4083608"/>
              <a:chOff x="1175743" y="1700808"/>
              <a:chExt cx="10344744" cy="4083608"/>
            </a:xfrm>
          </p:grpSpPr>
          <p:sp>
            <p:nvSpPr>
              <p:cNvPr id="7" name="iṡľïḑè">
                <a:extLst>
                  <a:ext uri="{FF2B5EF4-FFF2-40B4-BE49-F238E27FC236}">
                    <a16:creationId xmlns:a16="http://schemas.microsoft.com/office/drawing/2014/main" id="{48F70259-7598-4270-874A-6F50772D10F6}"/>
                  </a:ext>
                </a:extLst>
              </p:cNvPr>
              <p:cNvSpPr txBox="1"/>
              <p:nvPr/>
            </p:nvSpPr>
            <p:spPr bwMode="auto">
              <a:xfrm>
                <a:off x="3822192" y="1780800"/>
                <a:ext cx="7698295" cy="4003616"/>
              </a:xfrm>
              <a:prstGeom prst="rect">
                <a:avLst/>
              </a:prstGeom>
              <a:noFill/>
            </p:spPr>
            <p:txBody>
              <a:bodyPr wrap="square" tIns="0" anchor="t">
                <a:no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marL="342900" indent="-342900">
                  <a:lnSpc>
                    <a:spcPct val="150000"/>
                  </a:lnSpc>
                  <a:buFont typeface="+mj-lt"/>
                  <a:buAutoNum type="arabicPeriod"/>
                </a:pPr>
                <a:r>
                  <a:rPr lang="en-US" altLang="zh-CN" sz="3200" b="0" dirty="0">
                    <a:latin typeface="+mn-lt"/>
                    <a:ea typeface="+mn-ea"/>
                    <a:sym typeface="+mn-lt"/>
                  </a:rPr>
                  <a:t>Background</a:t>
                </a:r>
              </a:p>
              <a:p>
                <a:pPr marL="342900" indent="-342900">
                  <a:lnSpc>
                    <a:spcPct val="150000"/>
                  </a:lnSpc>
                  <a:buFont typeface="+mj-lt"/>
                  <a:buAutoNum type="arabicPeriod"/>
                </a:pPr>
                <a:r>
                  <a:rPr lang="en-US" altLang="zh-CN" sz="3200" b="0" dirty="0">
                    <a:latin typeface="+mn-lt"/>
                    <a:ea typeface="+mn-ea"/>
                    <a:sym typeface="+mn-lt"/>
                  </a:rPr>
                  <a:t>Implementation</a:t>
                </a:r>
              </a:p>
              <a:p>
                <a:pPr marL="342900" indent="-342900">
                  <a:lnSpc>
                    <a:spcPct val="150000"/>
                  </a:lnSpc>
                  <a:buFont typeface="+mj-lt"/>
                  <a:buAutoNum type="arabicPeriod"/>
                </a:pPr>
                <a:r>
                  <a:rPr lang="en-US" altLang="zh-CN" sz="3200" b="0" dirty="0">
                    <a:latin typeface="+mn-lt"/>
                    <a:ea typeface="+mn-ea"/>
                    <a:sym typeface="+mn-lt"/>
                  </a:rPr>
                  <a:t>Thinking</a:t>
                </a:r>
              </a:p>
              <a:p>
                <a:pPr>
                  <a:lnSpc>
                    <a:spcPct val="150000"/>
                  </a:lnSpc>
                </a:pPr>
                <a:endParaRPr lang="en-US" altLang="zh-CN" b="0" dirty="0">
                  <a:latin typeface="+mn-lt"/>
                  <a:ea typeface="+mn-ea"/>
                  <a:sym typeface="+mn-lt"/>
                </a:endParaRPr>
              </a:p>
            </p:txBody>
          </p:sp>
          <p:cxnSp>
            <p:nvCxnSpPr>
              <p:cNvPr id="8" name="直接连接符 7">
                <a:extLst>
                  <a:ext uri="{FF2B5EF4-FFF2-40B4-BE49-F238E27FC236}">
                    <a16:creationId xmlns:a16="http://schemas.microsoft.com/office/drawing/2014/main" id="{DA1FB18E-FA01-4588-BEF9-FB96A98A84D4}"/>
                  </a:ext>
                </a:extLst>
              </p:cNvPr>
              <p:cNvCxnSpPr>
                <a:cxnSpLocks/>
              </p:cNvCxnSpPr>
              <p:nvPr/>
            </p:nvCxnSpPr>
            <p:spPr>
              <a:xfrm>
                <a:off x="3696888" y="1780800"/>
                <a:ext cx="0" cy="4003616"/>
              </a:xfrm>
              <a:prstGeom prst="line">
                <a:avLst/>
              </a:prstGeom>
              <a:solidFill>
                <a:srgbClr val="FFCC00"/>
              </a:solidFill>
              <a:ln w="3175" cap="flat" cmpd="sng" algn="ctr">
                <a:solidFill>
                  <a:schemeClr val="bg1">
                    <a:lumMod val="75000"/>
                  </a:schemeClr>
                </a:solidFill>
                <a:prstDash val="solid"/>
                <a:round/>
                <a:headEnd type="none" w="med" len="med"/>
                <a:tailEnd type="none" w="med" len="med"/>
              </a:ln>
              <a:effectLst/>
            </p:spPr>
          </p:cxnSp>
          <p:sp>
            <p:nvSpPr>
              <p:cNvPr id="9" name="išľïḋé">
                <a:extLst>
                  <a:ext uri="{FF2B5EF4-FFF2-40B4-BE49-F238E27FC236}">
                    <a16:creationId xmlns:a16="http://schemas.microsoft.com/office/drawing/2014/main" id="{0DB1D0A1-2667-455C-9387-D7ABF0A00B8C}"/>
                  </a:ext>
                </a:extLst>
              </p:cNvPr>
              <p:cNvSpPr txBox="1"/>
              <p:nvPr/>
            </p:nvSpPr>
            <p:spPr>
              <a:xfrm>
                <a:off x="1175743" y="1700808"/>
                <a:ext cx="2521108" cy="523220"/>
              </a:xfrm>
              <a:prstGeom prst="rect">
                <a:avLst/>
              </a:prstGeom>
              <a:solidFill>
                <a:schemeClr val="bg1"/>
              </a:solidFill>
            </p:spPr>
            <p:txBody>
              <a:bodyPr wrap="square" rtlCol="0">
                <a:spAutoFit/>
              </a:bodyPr>
              <a:lstStyle/>
              <a:p>
                <a:pPr algn="r"/>
                <a:r>
                  <a:rPr lang="tr-TR" sz="2800" b="1" dirty="0">
                    <a:solidFill>
                      <a:schemeClr val="accent1"/>
                    </a:solidFill>
                    <a:cs typeface="+mn-ea"/>
                    <a:sym typeface="+mn-lt"/>
                  </a:rPr>
                  <a:t>CONTENTS</a:t>
                </a:r>
              </a:p>
            </p:txBody>
          </p:sp>
        </p:grpSp>
        <p:sp>
          <p:nvSpPr>
            <p:cNvPr id="10" name="poetry_91022">
              <a:extLst>
                <a:ext uri="{FF2B5EF4-FFF2-40B4-BE49-F238E27FC236}">
                  <a16:creationId xmlns:a16="http://schemas.microsoft.com/office/drawing/2014/main" id="{ADAD6BE3-DC11-4582-9F68-50D831ADD001}"/>
                </a:ext>
              </a:extLst>
            </p:cNvPr>
            <p:cNvSpPr>
              <a:spLocks noChangeAspect="1"/>
            </p:cNvSpPr>
            <p:nvPr/>
          </p:nvSpPr>
          <p:spPr bwMode="auto">
            <a:xfrm>
              <a:off x="2379533" y="4867348"/>
              <a:ext cx="870506" cy="915667"/>
            </a:xfrm>
            <a:custGeom>
              <a:avLst/>
              <a:gdLst>
                <a:gd name="T0" fmla="*/ 3353 w 5127"/>
                <a:gd name="T1" fmla="*/ 1728 h 5401"/>
                <a:gd name="T2" fmla="*/ 2183 w 5127"/>
                <a:gd name="T3" fmla="*/ 1608 h 5401"/>
                <a:gd name="T4" fmla="*/ 3353 w 5127"/>
                <a:gd name="T5" fmla="*/ 1488 h 5401"/>
                <a:gd name="T6" fmla="*/ 3103 w 5127"/>
                <a:gd name="T7" fmla="*/ 2231 h 5401"/>
                <a:gd name="T8" fmla="*/ 3103 w 5127"/>
                <a:gd name="T9" fmla="*/ 1991 h 5401"/>
                <a:gd name="T10" fmla="*/ 2432 w 5127"/>
                <a:gd name="T11" fmla="*/ 2111 h 5401"/>
                <a:gd name="T12" fmla="*/ 3103 w 5127"/>
                <a:gd name="T13" fmla="*/ 2231 h 5401"/>
                <a:gd name="T14" fmla="*/ 3353 w 5127"/>
                <a:gd name="T15" fmla="*/ 2648 h 5401"/>
                <a:gd name="T16" fmla="*/ 2183 w 5127"/>
                <a:gd name="T17" fmla="*/ 2768 h 5401"/>
                <a:gd name="T18" fmla="*/ 3353 w 5127"/>
                <a:gd name="T19" fmla="*/ 2888 h 5401"/>
                <a:gd name="T20" fmla="*/ 2552 w 5127"/>
                <a:gd name="T21" fmla="*/ 3151 h 5401"/>
                <a:gd name="T22" fmla="*/ 2552 w 5127"/>
                <a:gd name="T23" fmla="*/ 3391 h 5401"/>
                <a:gd name="T24" fmla="*/ 3223 w 5127"/>
                <a:gd name="T25" fmla="*/ 3271 h 5401"/>
                <a:gd name="T26" fmla="*/ 2552 w 5127"/>
                <a:gd name="T27" fmla="*/ 3151 h 5401"/>
                <a:gd name="T28" fmla="*/ 4448 w 5127"/>
                <a:gd name="T29" fmla="*/ 1442 h 5401"/>
                <a:gd name="T30" fmla="*/ 4688 w 5127"/>
                <a:gd name="T31" fmla="*/ 1442 h 5401"/>
                <a:gd name="T32" fmla="*/ 3988 w 5127"/>
                <a:gd name="T33" fmla="*/ 0 h 5401"/>
                <a:gd name="T34" fmla="*/ 0 w 5127"/>
                <a:gd name="T35" fmla="*/ 604 h 5401"/>
                <a:gd name="T36" fmla="*/ 120 w 5127"/>
                <a:gd name="T37" fmla="*/ 1792 h 5401"/>
                <a:gd name="T38" fmla="*/ 686 w 5127"/>
                <a:gd name="T39" fmla="*/ 1672 h 5401"/>
                <a:gd name="T40" fmla="*/ 240 w 5127"/>
                <a:gd name="T41" fmla="*/ 1552 h 5401"/>
                <a:gd name="T42" fmla="*/ 604 w 5127"/>
                <a:gd name="T43" fmla="*/ 240 h 5401"/>
                <a:gd name="T44" fmla="*/ 968 w 5127"/>
                <a:gd name="T45" fmla="*/ 4179 h 5401"/>
                <a:gd name="T46" fmla="*/ 3904 w 5127"/>
                <a:gd name="T47" fmla="*/ 4879 h 5401"/>
                <a:gd name="T48" fmla="*/ 3904 w 5127"/>
                <a:gd name="T49" fmla="*/ 4639 h 5401"/>
                <a:gd name="T50" fmla="*/ 1208 w 5127"/>
                <a:gd name="T51" fmla="*/ 4179 h 5401"/>
                <a:gd name="T52" fmla="*/ 1086 w 5127"/>
                <a:gd name="T53" fmla="*/ 240 h 5401"/>
                <a:gd name="T54" fmla="*/ 4448 w 5127"/>
                <a:gd name="T55" fmla="*/ 700 h 5401"/>
                <a:gd name="T56" fmla="*/ 4568 w 5127"/>
                <a:gd name="T57" fmla="*/ 2000 h 5401"/>
                <a:gd name="T58" fmla="*/ 4568 w 5127"/>
                <a:gd name="T59" fmla="*/ 2240 h 5401"/>
                <a:gd name="T60" fmla="*/ 4887 w 5127"/>
                <a:gd name="T61" fmla="*/ 2340 h 5401"/>
                <a:gd name="T62" fmla="*/ 5007 w 5127"/>
                <a:gd name="T63" fmla="*/ 3838 h 5401"/>
                <a:gd name="T64" fmla="*/ 5127 w 5127"/>
                <a:gd name="T65" fmla="*/ 2340 h 5401"/>
                <a:gd name="T66" fmla="*/ 4568 w 5127"/>
                <a:gd name="T67" fmla="*/ 5139 h 5401"/>
                <a:gd name="T68" fmla="*/ 4448 w 5127"/>
                <a:gd name="T69" fmla="*/ 5281 h 5401"/>
                <a:gd name="T70" fmla="*/ 4688 w 5127"/>
                <a:gd name="T71" fmla="*/ 5281 h 5401"/>
                <a:gd name="T72" fmla="*/ 4568 w 5127"/>
                <a:gd name="T73" fmla="*/ 5139 h 5401"/>
                <a:gd name="T74" fmla="*/ 4448 w 5127"/>
                <a:gd name="T75" fmla="*/ 2559 h 5401"/>
                <a:gd name="T76" fmla="*/ 4568 w 5127"/>
                <a:gd name="T77" fmla="*/ 4974 h 5401"/>
                <a:gd name="T78" fmla="*/ 4688 w 5127"/>
                <a:gd name="T79" fmla="*/ 2559 h 5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7" h="5401">
                  <a:moveTo>
                    <a:pt x="3473" y="1608"/>
                  </a:moveTo>
                  <a:cubicBezTo>
                    <a:pt x="3473" y="1674"/>
                    <a:pt x="3419" y="1728"/>
                    <a:pt x="3353" y="1728"/>
                  </a:cubicBezTo>
                  <a:lnTo>
                    <a:pt x="2303" y="1728"/>
                  </a:lnTo>
                  <a:cubicBezTo>
                    <a:pt x="2236" y="1728"/>
                    <a:pt x="2183" y="1674"/>
                    <a:pt x="2183" y="1608"/>
                  </a:cubicBezTo>
                  <a:cubicBezTo>
                    <a:pt x="2183" y="1542"/>
                    <a:pt x="2236" y="1488"/>
                    <a:pt x="2303" y="1488"/>
                  </a:cubicBezTo>
                  <a:lnTo>
                    <a:pt x="3353" y="1488"/>
                  </a:lnTo>
                  <a:cubicBezTo>
                    <a:pt x="3419" y="1488"/>
                    <a:pt x="3473" y="1542"/>
                    <a:pt x="3473" y="1608"/>
                  </a:cubicBezTo>
                  <a:close/>
                  <a:moveTo>
                    <a:pt x="3103" y="2231"/>
                  </a:moveTo>
                  <a:cubicBezTo>
                    <a:pt x="3170" y="2231"/>
                    <a:pt x="3223" y="2178"/>
                    <a:pt x="3223" y="2111"/>
                  </a:cubicBezTo>
                  <a:cubicBezTo>
                    <a:pt x="3223" y="2045"/>
                    <a:pt x="3170" y="1991"/>
                    <a:pt x="3103" y="1991"/>
                  </a:cubicBezTo>
                  <a:lnTo>
                    <a:pt x="2552" y="1991"/>
                  </a:lnTo>
                  <a:cubicBezTo>
                    <a:pt x="2486" y="1991"/>
                    <a:pt x="2432" y="2045"/>
                    <a:pt x="2432" y="2111"/>
                  </a:cubicBezTo>
                  <a:cubicBezTo>
                    <a:pt x="2432" y="2178"/>
                    <a:pt x="2486" y="2231"/>
                    <a:pt x="2552" y="2231"/>
                  </a:cubicBezTo>
                  <a:lnTo>
                    <a:pt x="3103" y="2231"/>
                  </a:lnTo>
                  <a:close/>
                  <a:moveTo>
                    <a:pt x="3473" y="2768"/>
                  </a:moveTo>
                  <a:cubicBezTo>
                    <a:pt x="3473" y="2701"/>
                    <a:pt x="3419" y="2648"/>
                    <a:pt x="3353" y="2648"/>
                  </a:cubicBezTo>
                  <a:lnTo>
                    <a:pt x="2303" y="2648"/>
                  </a:lnTo>
                  <a:cubicBezTo>
                    <a:pt x="2236" y="2648"/>
                    <a:pt x="2183" y="2701"/>
                    <a:pt x="2183" y="2768"/>
                  </a:cubicBezTo>
                  <a:cubicBezTo>
                    <a:pt x="2183" y="2834"/>
                    <a:pt x="2236" y="2888"/>
                    <a:pt x="2303" y="2888"/>
                  </a:cubicBezTo>
                  <a:lnTo>
                    <a:pt x="3353" y="2888"/>
                  </a:lnTo>
                  <a:cubicBezTo>
                    <a:pt x="3419" y="2888"/>
                    <a:pt x="3473" y="2834"/>
                    <a:pt x="3473" y="2768"/>
                  </a:cubicBezTo>
                  <a:close/>
                  <a:moveTo>
                    <a:pt x="2552" y="3151"/>
                  </a:moveTo>
                  <a:cubicBezTo>
                    <a:pt x="2486" y="3151"/>
                    <a:pt x="2432" y="3205"/>
                    <a:pt x="2432" y="3271"/>
                  </a:cubicBezTo>
                  <a:cubicBezTo>
                    <a:pt x="2432" y="3338"/>
                    <a:pt x="2486" y="3391"/>
                    <a:pt x="2552" y="3391"/>
                  </a:cubicBezTo>
                  <a:lnTo>
                    <a:pt x="3103" y="3391"/>
                  </a:lnTo>
                  <a:cubicBezTo>
                    <a:pt x="3170" y="3391"/>
                    <a:pt x="3223" y="3338"/>
                    <a:pt x="3223" y="3271"/>
                  </a:cubicBezTo>
                  <a:cubicBezTo>
                    <a:pt x="3223" y="3205"/>
                    <a:pt x="3170" y="3151"/>
                    <a:pt x="3103" y="3151"/>
                  </a:cubicBezTo>
                  <a:lnTo>
                    <a:pt x="2552" y="3151"/>
                  </a:lnTo>
                  <a:close/>
                  <a:moveTo>
                    <a:pt x="4448" y="700"/>
                  </a:moveTo>
                  <a:lnTo>
                    <a:pt x="4448" y="1442"/>
                  </a:lnTo>
                  <a:cubicBezTo>
                    <a:pt x="4448" y="1509"/>
                    <a:pt x="4501" y="1562"/>
                    <a:pt x="4568" y="1562"/>
                  </a:cubicBezTo>
                  <a:cubicBezTo>
                    <a:pt x="4634" y="1562"/>
                    <a:pt x="4688" y="1509"/>
                    <a:pt x="4688" y="1442"/>
                  </a:cubicBezTo>
                  <a:lnTo>
                    <a:pt x="4688" y="700"/>
                  </a:lnTo>
                  <a:cubicBezTo>
                    <a:pt x="4688" y="314"/>
                    <a:pt x="4374" y="0"/>
                    <a:pt x="3988" y="0"/>
                  </a:cubicBezTo>
                  <a:lnTo>
                    <a:pt x="604" y="0"/>
                  </a:lnTo>
                  <a:cubicBezTo>
                    <a:pt x="271" y="0"/>
                    <a:pt x="0" y="271"/>
                    <a:pt x="0" y="604"/>
                  </a:cubicBezTo>
                  <a:lnTo>
                    <a:pt x="0" y="1672"/>
                  </a:lnTo>
                  <a:cubicBezTo>
                    <a:pt x="0" y="1738"/>
                    <a:pt x="53" y="1792"/>
                    <a:pt x="120" y="1792"/>
                  </a:cubicBezTo>
                  <a:lnTo>
                    <a:pt x="566" y="1792"/>
                  </a:lnTo>
                  <a:cubicBezTo>
                    <a:pt x="632" y="1792"/>
                    <a:pt x="686" y="1738"/>
                    <a:pt x="686" y="1672"/>
                  </a:cubicBezTo>
                  <a:cubicBezTo>
                    <a:pt x="686" y="1606"/>
                    <a:pt x="632" y="1552"/>
                    <a:pt x="566" y="1552"/>
                  </a:cubicBezTo>
                  <a:lnTo>
                    <a:pt x="240" y="1552"/>
                  </a:lnTo>
                  <a:lnTo>
                    <a:pt x="240" y="604"/>
                  </a:lnTo>
                  <a:cubicBezTo>
                    <a:pt x="240" y="403"/>
                    <a:pt x="403" y="240"/>
                    <a:pt x="604" y="240"/>
                  </a:cubicBezTo>
                  <a:cubicBezTo>
                    <a:pt x="805" y="240"/>
                    <a:pt x="968" y="403"/>
                    <a:pt x="968" y="604"/>
                  </a:cubicBezTo>
                  <a:lnTo>
                    <a:pt x="968" y="4179"/>
                  </a:lnTo>
                  <a:cubicBezTo>
                    <a:pt x="968" y="4565"/>
                    <a:pt x="1282" y="4879"/>
                    <a:pt x="1668" y="4879"/>
                  </a:cubicBezTo>
                  <a:lnTo>
                    <a:pt x="3904" y="4879"/>
                  </a:lnTo>
                  <a:cubicBezTo>
                    <a:pt x="3970" y="4879"/>
                    <a:pt x="4024" y="4825"/>
                    <a:pt x="4024" y="4759"/>
                  </a:cubicBezTo>
                  <a:cubicBezTo>
                    <a:pt x="4024" y="4693"/>
                    <a:pt x="3970" y="4639"/>
                    <a:pt x="3904" y="4639"/>
                  </a:cubicBezTo>
                  <a:lnTo>
                    <a:pt x="1668" y="4639"/>
                  </a:lnTo>
                  <a:cubicBezTo>
                    <a:pt x="1415" y="4639"/>
                    <a:pt x="1208" y="4433"/>
                    <a:pt x="1208" y="4179"/>
                  </a:cubicBezTo>
                  <a:lnTo>
                    <a:pt x="1208" y="604"/>
                  </a:lnTo>
                  <a:cubicBezTo>
                    <a:pt x="1208" y="468"/>
                    <a:pt x="1163" y="341"/>
                    <a:pt x="1086" y="240"/>
                  </a:cubicBezTo>
                  <a:lnTo>
                    <a:pt x="3988" y="240"/>
                  </a:lnTo>
                  <a:cubicBezTo>
                    <a:pt x="4241" y="240"/>
                    <a:pt x="4448" y="446"/>
                    <a:pt x="4448" y="700"/>
                  </a:cubicBezTo>
                  <a:close/>
                  <a:moveTo>
                    <a:pt x="4787" y="2000"/>
                  </a:moveTo>
                  <a:lnTo>
                    <a:pt x="4568" y="2000"/>
                  </a:lnTo>
                  <a:cubicBezTo>
                    <a:pt x="4501" y="2000"/>
                    <a:pt x="4448" y="2054"/>
                    <a:pt x="4448" y="2120"/>
                  </a:cubicBezTo>
                  <a:cubicBezTo>
                    <a:pt x="4448" y="2187"/>
                    <a:pt x="4501" y="2240"/>
                    <a:pt x="4568" y="2240"/>
                  </a:cubicBezTo>
                  <a:lnTo>
                    <a:pt x="4787" y="2240"/>
                  </a:lnTo>
                  <a:cubicBezTo>
                    <a:pt x="4842" y="2240"/>
                    <a:pt x="4887" y="2285"/>
                    <a:pt x="4887" y="2340"/>
                  </a:cubicBezTo>
                  <a:lnTo>
                    <a:pt x="4887" y="3718"/>
                  </a:lnTo>
                  <a:cubicBezTo>
                    <a:pt x="4887" y="3785"/>
                    <a:pt x="4941" y="3838"/>
                    <a:pt x="5007" y="3838"/>
                  </a:cubicBezTo>
                  <a:cubicBezTo>
                    <a:pt x="5073" y="3838"/>
                    <a:pt x="5127" y="3785"/>
                    <a:pt x="5127" y="3718"/>
                  </a:cubicBezTo>
                  <a:lnTo>
                    <a:pt x="5127" y="2340"/>
                  </a:lnTo>
                  <a:cubicBezTo>
                    <a:pt x="5127" y="2153"/>
                    <a:pt x="4975" y="2000"/>
                    <a:pt x="4787" y="2000"/>
                  </a:cubicBezTo>
                  <a:close/>
                  <a:moveTo>
                    <a:pt x="4568" y="5139"/>
                  </a:moveTo>
                  <a:cubicBezTo>
                    <a:pt x="4501" y="5139"/>
                    <a:pt x="4448" y="5193"/>
                    <a:pt x="4448" y="5259"/>
                  </a:cubicBezTo>
                  <a:lnTo>
                    <a:pt x="4448" y="5281"/>
                  </a:lnTo>
                  <a:cubicBezTo>
                    <a:pt x="4448" y="5347"/>
                    <a:pt x="4501" y="5401"/>
                    <a:pt x="4568" y="5401"/>
                  </a:cubicBezTo>
                  <a:cubicBezTo>
                    <a:pt x="4634" y="5401"/>
                    <a:pt x="4688" y="5347"/>
                    <a:pt x="4688" y="5281"/>
                  </a:cubicBezTo>
                  <a:lnTo>
                    <a:pt x="4688" y="5259"/>
                  </a:lnTo>
                  <a:cubicBezTo>
                    <a:pt x="4688" y="5193"/>
                    <a:pt x="4634" y="5139"/>
                    <a:pt x="4568" y="5139"/>
                  </a:cubicBezTo>
                  <a:close/>
                  <a:moveTo>
                    <a:pt x="4568" y="2439"/>
                  </a:moveTo>
                  <a:cubicBezTo>
                    <a:pt x="4501" y="2439"/>
                    <a:pt x="4448" y="2492"/>
                    <a:pt x="4448" y="2559"/>
                  </a:cubicBezTo>
                  <a:lnTo>
                    <a:pt x="4448" y="4854"/>
                  </a:lnTo>
                  <a:cubicBezTo>
                    <a:pt x="4448" y="4920"/>
                    <a:pt x="4501" y="4974"/>
                    <a:pt x="4568" y="4974"/>
                  </a:cubicBezTo>
                  <a:cubicBezTo>
                    <a:pt x="4634" y="4974"/>
                    <a:pt x="4688" y="4920"/>
                    <a:pt x="4688" y="4854"/>
                  </a:cubicBezTo>
                  <a:lnTo>
                    <a:pt x="4688" y="2559"/>
                  </a:lnTo>
                  <a:cubicBezTo>
                    <a:pt x="4688" y="2492"/>
                    <a:pt x="4634" y="2439"/>
                    <a:pt x="4568" y="2439"/>
                  </a:cubicBezTo>
                  <a:close/>
                </a:path>
              </a:pathLst>
            </a:custGeom>
            <a:solidFill>
              <a:schemeClr val="bg1">
                <a:lumMod val="85000"/>
              </a:schemeClr>
            </a:solidFill>
            <a:ln>
              <a:noFill/>
            </a:ln>
          </p:spPr>
          <p:txBody>
            <a:bodyPr/>
            <a:lstStyle/>
            <a:p>
              <a:endParaRPr lang="zh-CN" altLang="en-US">
                <a:cs typeface="+mn-ea"/>
                <a:sym typeface="+mn-lt"/>
              </a:endParaRPr>
            </a:p>
          </p:txBody>
        </p:sp>
      </p:grpSp>
    </p:spTree>
    <p:custDataLst>
      <p:tags r:id="rId2"/>
    </p:custDataLst>
    <p:extLst>
      <p:ext uri="{BB962C8B-B14F-4D97-AF65-F5344CB8AC3E}">
        <p14:creationId xmlns:p14="http://schemas.microsoft.com/office/powerpoint/2010/main" val="9119331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en-US" altLang="zh-CN" dirty="0"/>
              <a:t>Background</a:t>
            </a:r>
            <a:endParaRPr lang="zh-CN" altLang="en-US" dirty="0"/>
          </a:p>
        </p:txBody>
      </p:sp>
      <p:sp>
        <p:nvSpPr>
          <p:cNvPr id="9" name="文本框 8">
            <a:extLst>
              <a:ext uri="{FF2B5EF4-FFF2-40B4-BE49-F238E27FC236}">
                <a16:creationId xmlns:a16="http://schemas.microsoft.com/office/drawing/2014/main" id="{04F69230-F3A6-4586-9371-A858F4763E9F}"/>
              </a:ext>
            </a:extLst>
          </p:cNvPr>
          <p:cNvSpPr txBox="1"/>
          <p:nvPr/>
        </p:nvSpPr>
        <p:spPr>
          <a:xfrm>
            <a:off x="5485862" y="2349795"/>
            <a:ext cx="1139326" cy="990601"/>
          </a:xfrm>
          <a:prstGeom prst="rect">
            <a:avLst/>
          </a:prstGeom>
          <a:noFill/>
          <a:ln w="117475">
            <a:noFill/>
          </a:ln>
        </p:spPr>
        <p:txBody>
          <a:bodyPr wrap="none" rtlCol="0">
            <a:prstTxWarp prst="textPlain">
              <a:avLst/>
            </a:prstTxWarp>
            <a:spAutoFit/>
          </a:bodyPr>
          <a:lstStyle/>
          <a:p>
            <a:pPr algn="ctr"/>
            <a:r>
              <a:rPr lang="en-US" altLang="zh-CN" spc="100" dirty="0">
                <a:solidFill>
                  <a:schemeClr val="accent1"/>
                </a:solidFill>
                <a:latin typeface="Impact" panose="020B0806030902050204" pitchFamily="34" charset="0"/>
                <a:cs typeface="Arial" panose="020B0604020202020204" pitchFamily="34" charset="0"/>
              </a:rPr>
              <a:t>/01</a:t>
            </a:r>
            <a:endParaRPr lang="zh-CN" altLang="en-US" spc="100" dirty="0">
              <a:solidFill>
                <a:schemeClr val="accent1"/>
              </a:solidFill>
              <a:latin typeface="Impact" panose="020B0806030902050204" pitchFamily="34" charset="0"/>
              <a:cs typeface="Arial" panose="020B0604020202020204" pitchFamily="34" charset="0"/>
            </a:endParaRPr>
          </a:p>
        </p:txBody>
      </p:sp>
    </p:spTree>
    <p:custDataLst>
      <p:tags r:id="rId2"/>
    </p:custDataLst>
    <p:extLst>
      <p:ext uri="{BB962C8B-B14F-4D97-AF65-F5344CB8AC3E}">
        <p14:creationId xmlns:p14="http://schemas.microsoft.com/office/powerpoint/2010/main" val="23715973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a:t>Use "Title Only" Layout</a:t>
            </a:r>
            <a:endParaRPr lang="zh-CN" altLang="en-US"/>
          </a:p>
        </p:txBody>
      </p:sp>
      <p:sp>
        <p:nvSpPr>
          <p:cNvPr id="3" name="页脚占位符 2"/>
          <p:cNvSpPr>
            <a:spLocks noGrp="1"/>
          </p:cNvSpPr>
          <p:nvPr>
            <p:ph type="ftr" sz="quarter" idx="11"/>
          </p:nvPr>
        </p:nvSpPr>
        <p:spPr/>
        <p:txBody>
          <a:bodyPr/>
          <a:lstStyle/>
          <a:p>
            <a:r>
              <a:rPr lang="en-US" altLang="zh-CN"/>
              <a:t>www.islide.cc</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4</a:t>
            </a:fld>
            <a:endParaRPr lang="zh-CN" altLang="en-US"/>
          </a:p>
        </p:txBody>
      </p:sp>
    </p:spTree>
    <p:custDataLst>
      <p:tags r:id="rId1"/>
    </p:custDataLst>
    <p:extLst>
      <p:ext uri="{BB962C8B-B14F-4D97-AF65-F5344CB8AC3E}">
        <p14:creationId xmlns:p14="http://schemas.microsoft.com/office/powerpoint/2010/main" val="415734958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en-US" altLang="zh-CN" dirty="0"/>
              <a:t>Implementation</a:t>
            </a:r>
            <a:endParaRPr lang="zh-CN" altLang="en-US" dirty="0"/>
          </a:p>
        </p:txBody>
      </p:sp>
      <p:sp>
        <p:nvSpPr>
          <p:cNvPr id="9" name="文本框 8">
            <a:extLst>
              <a:ext uri="{FF2B5EF4-FFF2-40B4-BE49-F238E27FC236}">
                <a16:creationId xmlns:a16="http://schemas.microsoft.com/office/drawing/2014/main" id="{04F69230-F3A6-4586-9371-A858F4763E9F}"/>
              </a:ext>
            </a:extLst>
          </p:cNvPr>
          <p:cNvSpPr txBox="1"/>
          <p:nvPr/>
        </p:nvSpPr>
        <p:spPr>
          <a:xfrm>
            <a:off x="5485862" y="2349795"/>
            <a:ext cx="1139326" cy="990601"/>
          </a:xfrm>
          <a:prstGeom prst="rect">
            <a:avLst/>
          </a:prstGeom>
          <a:noFill/>
          <a:ln w="117475">
            <a:noFill/>
          </a:ln>
        </p:spPr>
        <p:txBody>
          <a:bodyPr wrap="none" rtlCol="0">
            <a:prstTxWarp prst="textPlain">
              <a:avLst/>
            </a:prstTxWarp>
            <a:spAutoFit/>
          </a:bodyPr>
          <a:lstStyle/>
          <a:p>
            <a:pPr algn="ctr"/>
            <a:r>
              <a:rPr lang="en-US" altLang="zh-CN" spc="100" dirty="0">
                <a:solidFill>
                  <a:schemeClr val="accent1"/>
                </a:solidFill>
                <a:latin typeface="Impact" panose="020B0806030902050204" pitchFamily="34" charset="0"/>
                <a:cs typeface="Arial" panose="020B0604020202020204" pitchFamily="34" charset="0"/>
              </a:rPr>
              <a:t>/02</a:t>
            </a:r>
            <a:endParaRPr lang="zh-CN" altLang="en-US" spc="100" dirty="0">
              <a:solidFill>
                <a:schemeClr val="accent1"/>
              </a:solidFill>
              <a:latin typeface="Impact" panose="020B0806030902050204" pitchFamily="34" charset="0"/>
              <a:cs typeface="Arial" panose="020B0604020202020204" pitchFamily="34" charset="0"/>
            </a:endParaRPr>
          </a:p>
        </p:txBody>
      </p:sp>
    </p:spTree>
    <p:custDataLst>
      <p:tags r:id="rId2"/>
    </p:custDataLst>
    <p:extLst>
      <p:ext uri="{BB962C8B-B14F-4D97-AF65-F5344CB8AC3E}">
        <p14:creationId xmlns:p14="http://schemas.microsoft.com/office/powerpoint/2010/main" val="150670526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63048DD5-6D5B-5F4F-5539-15CF97BEF803}"/>
              </a:ext>
            </a:extLst>
          </p:cNvPr>
          <p:cNvSpPr>
            <a:spLocks noGrp="1"/>
          </p:cNvSpPr>
          <p:nvPr>
            <p:ph type="title"/>
          </p:nvPr>
        </p:nvSpPr>
        <p:spPr/>
        <p:txBody>
          <a:bodyPr/>
          <a:lstStyle/>
          <a:p>
            <a:r>
              <a:rPr lang="en-US" altLang="zh-CN" dirty="0"/>
              <a:t>Theoretical introduction</a:t>
            </a:r>
            <a:endParaRPr lang="zh-CN" altLang="en-US" dirty="0"/>
          </a:p>
        </p:txBody>
      </p:sp>
      <p:sp>
        <p:nvSpPr>
          <p:cNvPr id="4" name="灯片编号占位符 3">
            <a:extLst>
              <a:ext uri="{FF2B5EF4-FFF2-40B4-BE49-F238E27FC236}">
                <a16:creationId xmlns:a16="http://schemas.microsoft.com/office/drawing/2014/main" id="{6C3B75CB-85ED-37BB-D234-7DEA04D8FF44}"/>
              </a:ext>
            </a:extLst>
          </p:cNvPr>
          <p:cNvSpPr>
            <a:spLocks noGrp="1"/>
          </p:cNvSpPr>
          <p:nvPr>
            <p:ph type="sldNum" sz="quarter" idx="12"/>
          </p:nvPr>
        </p:nvSpPr>
        <p:spPr/>
        <p:txBody>
          <a:bodyPr/>
          <a:lstStyle/>
          <a:p>
            <a:fld id="{5DD3DB80-B894-403A-B48E-6FDC1A72010E}" type="slidenum">
              <a:rPr lang="zh-CN" altLang="en-US" smtClean="0"/>
              <a:pPr/>
              <a:t>6</a:t>
            </a:fld>
            <a:endParaRPr lang="zh-CN" altLang="en-US"/>
          </a:p>
        </p:txBody>
      </p:sp>
      <p:grpSp>
        <p:nvGrpSpPr>
          <p:cNvPr id="5" name="组合 4">
            <a:extLst>
              <a:ext uri="{FF2B5EF4-FFF2-40B4-BE49-F238E27FC236}">
                <a16:creationId xmlns:a16="http://schemas.microsoft.com/office/drawing/2014/main" id="{DB091B3D-7FA0-6EFD-49A1-847B33E0A94C}"/>
              </a:ext>
            </a:extLst>
          </p:cNvPr>
          <p:cNvGrpSpPr/>
          <p:nvPr/>
        </p:nvGrpSpPr>
        <p:grpSpPr>
          <a:xfrm>
            <a:off x="446752" y="1218521"/>
            <a:ext cx="11298496" cy="4631946"/>
            <a:chOff x="306456" y="1846210"/>
            <a:chExt cx="12215941" cy="5021942"/>
          </a:xfrm>
        </p:grpSpPr>
        <p:grpSp>
          <p:nvGrpSpPr>
            <p:cNvPr id="6" name="组合 5">
              <a:extLst>
                <a:ext uri="{FF2B5EF4-FFF2-40B4-BE49-F238E27FC236}">
                  <a16:creationId xmlns:a16="http://schemas.microsoft.com/office/drawing/2014/main" id="{17EBD42E-615A-8FAD-DD26-1A9FD9E458FE}"/>
                </a:ext>
              </a:extLst>
            </p:cNvPr>
            <p:cNvGrpSpPr/>
            <p:nvPr/>
          </p:nvGrpSpPr>
          <p:grpSpPr>
            <a:xfrm>
              <a:off x="3585029" y="1846210"/>
              <a:ext cx="5021942" cy="5021942"/>
              <a:chOff x="3544155" y="1846210"/>
              <a:chExt cx="5021942" cy="5021942"/>
            </a:xfrm>
          </p:grpSpPr>
          <p:sp>
            <p:nvSpPr>
              <p:cNvPr id="21" name="圆角矩形 26">
                <a:extLst>
                  <a:ext uri="{FF2B5EF4-FFF2-40B4-BE49-F238E27FC236}">
                    <a16:creationId xmlns:a16="http://schemas.microsoft.com/office/drawing/2014/main" id="{F3112E1A-0DB2-A8AB-BC68-D6E85B7FD774}"/>
                  </a:ext>
                </a:extLst>
              </p:cNvPr>
              <p:cNvSpPr/>
              <p:nvPr/>
            </p:nvSpPr>
            <p:spPr>
              <a:xfrm>
                <a:off x="3544155" y="1846210"/>
                <a:ext cx="5021942" cy="5021942"/>
              </a:xfrm>
              <a:prstGeom prst="roundRect">
                <a:avLst>
                  <a:gd name="adj" fmla="val 50000"/>
                </a:avLst>
              </a:prstGeom>
              <a:noFill/>
              <a:ln>
                <a:solidFill>
                  <a:schemeClr val="tx1">
                    <a:lumMod val="50000"/>
                    <a:lumOff val="50000"/>
                    <a:alpha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tx1"/>
                  </a:solidFill>
                </a:endParaRPr>
              </a:p>
            </p:txBody>
          </p:sp>
          <p:sp>
            <p:nvSpPr>
              <p:cNvPr id="22" name="圆角矩形 49">
                <a:extLst>
                  <a:ext uri="{FF2B5EF4-FFF2-40B4-BE49-F238E27FC236}">
                    <a16:creationId xmlns:a16="http://schemas.microsoft.com/office/drawing/2014/main" id="{E6AA0196-5CAD-47BF-6B34-C7C7EA55972C}"/>
                  </a:ext>
                </a:extLst>
              </p:cNvPr>
              <p:cNvSpPr/>
              <p:nvPr/>
            </p:nvSpPr>
            <p:spPr>
              <a:xfrm>
                <a:off x="4368905" y="2670960"/>
                <a:ext cx="3372442" cy="3372442"/>
              </a:xfrm>
              <a:prstGeom prst="roundRect">
                <a:avLst>
                  <a:gd name="adj" fmla="val 50000"/>
                </a:avLst>
              </a:prstGeom>
              <a:blipFill>
                <a:blip r:embed="rId3"/>
                <a:stretch>
                  <a:fillRect l="-25094" r="-24906"/>
                </a:stretch>
              </a:blipFill>
              <a:ln w="38100">
                <a:noFill/>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endParaRPr lang="zh-CN" altLang="en-US" dirty="0"/>
              </a:p>
            </p:txBody>
          </p:sp>
        </p:grpSp>
        <p:grpSp>
          <p:nvGrpSpPr>
            <p:cNvPr id="9" name="组合 8">
              <a:extLst>
                <a:ext uri="{FF2B5EF4-FFF2-40B4-BE49-F238E27FC236}">
                  <a16:creationId xmlns:a16="http://schemas.microsoft.com/office/drawing/2014/main" id="{C5384F28-83D8-41AB-2171-AE76C3351C4E}"/>
                </a:ext>
              </a:extLst>
            </p:cNvPr>
            <p:cNvGrpSpPr/>
            <p:nvPr/>
          </p:nvGrpSpPr>
          <p:grpSpPr>
            <a:xfrm>
              <a:off x="7983395" y="3685027"/>
              <a:ext cx="4539002" cy="1458156"/>
              <a:chOff x="7942521" y="3712332"/>
              <a:chExt cx="4539002" cy="1458156"/>
            </a:xfrm>
          </p:grpSpPr>
          <p:sp>
            <p:nvSpPr>
              <p:cNvPr id="16" name="圆角矩形 63">
                <a:extLst>
                  <a:ext uri="{FF2B5EF4-FFF2-40B4-BE49-F238E27FC236}">
                    <a16:creationId xmlns:a16="http://schemas.microsoft.com/office/drawing/2014/main" id="{8ED3A48D-7257-FA3E-0806-C41711398882}"/>
                  </a:ext>
                </a:extLst>
              </p:cNvPr>
              <p:cNvSpPr/>
              <p:nvPr/>
            </p:nvSpPr>
            <p:spPr>
              <a:xfrm>
                <a:off x="7942521" y="3712332"/>
                <a:ext cx="3902149" cy="1458156"/>
              </a:xfrm>
              <a:prstGeom prst="roundRect">
                <a:avLst>
                  <a:gd name="adj" fmla="val 50000"/>
                </a:avLst>
              </a:prstGeom>
              <a:solidFill>
                <a:schemeClr val="accent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7" name="椭圆 16">
                <a:extLst>
                  <a:ext uri="{FF2B5EF4-FFF2-40B4-BE49-F238E27FC236}">
                    <a16:creationId xmlns:a16="http://schemas.microsoft.com/office/drawing/2014/main" id="{85F4D38A-9987-F9D0-8ECD-0AC3C11980A3}"/>
                  </a:ext>
                </a:extLst>
              </p:cNvPr>
              <p:cNvSpPr/>
              <p:nvPr/>
            </p:nvSpPr>
            <p:spPr>
              <a:xfrm>
                <a:off x="8170072" y="4024486"/>
                <a:ext cx="720000" cy="72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913765">
                  <a:buSzPct val="25000"/>
                </a:pPr>
                <a:r>
                  <a:rPr lang="en-GB" altLang="zh-CN" sz="1600" b="1" dirty="0"/>
                  <a:t>02</a:t>
                </a:r>
                <a:endParaRPr lang="zh-CN" altLang="en-US" sz="1600" b="1" dirty="0"/>
              </a:p>
            </p:txBody>
          </p:sp>
          <p:grpSp>
            <p:nvGrpSpPr>
              <p:cNvPr id="18" name="组合 17">
                <a:extLst>
                  <a:ext uri="{FF2B5EF4-FFF2-40B4-BE49-F238E27FC236}">
                    <a16:creationId xmlns:a16="http://schemas.microsoft.com/office/drawing/2014/main" id="{0A2F7FFF-CED8-E31D-712D-5F736C48C418}"/>
                  </a:ext>
                </a:extLst>
              </p:cNvPr>
              <p:cNvGrpSpPr/>
              <p:nvPr/>
            </p:nvGrpSpPr>
            <p:grpSpPr>
              <a:xfrm>
                <a:off x="9079878" y="3930737"/>
                <a:ext cx="3401645" cy="1239751"/>
                <a:chOff x="9122644" y="3965015"/>
                <a:chExt cx="3401645" cy="1239751"/>
              </a:xfrm>
            </p:grpSpPr>
            <p:sp>
              <p:nvSpPr>
                <p:cNvPr id="19" name="文本框 18">
                  <a:extLst>
                    <a:ext uri="{FF2B5EF4-FFF2-40B4-BE49-F238E27FC236}">
                      <a16:creationId xmlns:a16="http://schemas.microsoft.com/office/drawing/2014/main" id="{338A175C-9413-4EC5-8706-5C4DE9FC3B12}"/>
                    </a:ext>
                  </a:extLst>
                </p:cNvPr>
                <p:cNvSpPr txBox="1"/>
                <p:nvPr/>
              </p:nvSpPr>
              <p:spPr>
                <a:xfrm>
                  <a:off x="9122652" y="3965015"/>
                  <a:ext cx="2396246" cy="369332"/>
                </a:xfrm>
                <a:prstGeom prst="rect">
                  <a:avLst/>
                </a:prstGeom>
                <a:noFill/>
              </p:spPr>
              <p:txBody>
                <a:bodyPr wrap="square">
                  <a:spAutoFit/>
                </a:bodyPr>
                <a:lstStyle/>
                <a:p>
                  <a:r>
                    <a:rPr lang="en-US" altLang="zh-CN" b="1" dirty="0"/>
                    <a:t>Signal processing</a:t>
                  </a:r>
                </a:p>
              </p:txBody>
            </p:sp>
            <p:sp>
              <p:nvSpPr>
                <p:cNvPr id="20" name="矩形 19">
                  <a:extLst>
                    <a:ext uri="{FF2B5EF4-FFF2-40B4-BE49-F238E27FC236}">
                      <a16:creationId xmlns:a16="http://schemas.microsoft.com/office/drawing/2014/main" id="{5CAE880A-208F-4E8E-0F19-7C21A9B01D86}"/>
                    </a:ext>
                  </a:extLst>
                </p:cNvPr>
                <p:cNvSpPr/>
                <p:nvPr/>
              </p:nvSpPr>
              <p:spPr>
                <a:xfrm>
                  <a:off x="9122644" y="4240748"/>
                  <a:ext cx="3401645" cy="964018"/>
                </a:xfrm>
                <a:prstGeom prst="rect">
                  <a:avLst/>
                </a:prstGeom>
                <a:ln>
                  <a:noFill/>
                </a:ln>
              </p:spPr>
              <p:txBody>
                <a:bodyPr wrap="square" lIns="91440" tIns="45720" rIns="91440" bIns="45720" anchor="t">
                  <a:spAutoFit/>
                </a:bodyPr>
                <a:lstStyle/>
                <a:p>
                  <a:pPr>
                    <a:lnSpc>
                      <a:spcPct val="150000"/>
                    </a:lnSpc>
                  </a:pPr>
                  <a:r>
                    <a:rPr lang="en-US" altLang="zh-CN" sz="1200" dirty="0">
                      <a:solidFill>
                        <a:schemeClr val="tx1">
                          <a:lumMod val="85000"/>
                          <a:lumOff val="15000"/>
                        </a:schemeClr>
                      </a:solidFill>
                    </a:rPr>
                    <a:t>Acoustic feature extraction, </a:t>
                  </a:r>
                  <a:r>
                    <a:rPr lang="en-US" altLang="zh-CN" sz="1200" b="0" i="0" dirty="0">
                      <a:solidFill>
                        <a:srgbClr val="333333"/>
                      </a:solidFill>
                      <a:effectLst/>
                    </a:rPr>
                    <a:t>Phoneme </a:t>
                  </a:r>
                  <a:r>
                    <a:rPr lang="en-US" altLang="zh-CN" sz="1200" b="0" i="0" dirty="0">
                      <a:solidFill>
                        <a:srgbClr val="333333"/>
                      </a:solidFill>
                      <a:effectLst/>
                      <a:latin typeface="tahoma" panose="020B0604030504040204" pitchFamily="34" charset="0"/>
                    </a:rPr>
                    <a:t>alignment,</a:t>
                  </a:r>
                  <a:r>
                    <a:rPr lang="en-US" altLang="zh-CN" sz="1200" dirty="0">
                      <a:solidFill>
                        <a:schemeClr val="tx1">
                          <a:lumMod val="85000"/>
                          <a:lumOff val="15000"/>
                        </a:schemeClr>
                      </a:solidFill>
                      <a:latin typeface="tahoma" panose="020B0604030504040204" pitchFamily="34" charset="0"/>
                    </a:rPr>
                    <a:t> </a:t>
                  </a:r>
                  <a:r>
                    <a:rPr lang="en-US" altLang="zh-CN" sz="1200" dirty="0">
                      <a:solidFill>
                        <a:schemeClr val="tx1">
                          <a:lumMod val="85000"/>
                          <a:lumOff val="15000"/>
                        </a:schemeClr>
                      </a:solidFill>
                    </a:rPr>
                    <a:t>Speech synthesis parameter generation</a:t>
                  </a:r>
                </a:p>
              </p:txBody>
            </p:sp>
          </p:grpSp>
        </p:grpSp>
        <p:grpSp>
          <p:nvGrpSpPr>
            <p:cNvPr id="10" name="组合 9">
              <a:extLst>
                <a:ext uri="{FF2B5EF4-FFF2-40B4-BE49-F238E27FC236}">
                  <a16:creationId xmlns:a16="http://schemas.microsoft.com/office/drawing/2014/main" id="{8667C900-B4ED-96BD-A1F8-759622984FAC}"/>
                </a:ext>
              </a:extLst>
            </p:cNvPr>
            <p:cNvGrpSpPr/>
            <p:nvPr/>
          </p:nvGrpSpPr>
          <p:grpSpPr>
            <a:xfrm flipH="1">
              <a:off x="306456" y="3765630"/>
              <a:ext cx="3902149" cy="1377552"/>
              <a:chOff x="7942521" y="3792935"/>
              <a:chExt cx="3902149" cy="1377552"/>
            </a:xfrm>
          </p:grpSpPr>
          <p:sp>
            <p:nvSpPr>
              <p:cNvPr id="11" name="圆角矩形 67">
                <a:extLst>
                  <a:ext uri="{FF2B5EF4-FFF2-40B4-BE49-F238E27FC236}">
                    <a16:creationId xmlns:a16="http://schemas.microsoft.com/office/drawing/2014/main" id="{A7949A86-4FBA-A942-8194-5C452F1EA5FD}"/>
                  </a:ext>
                </a:extLst>
              </p:cNvPr>
              <p:cNvSpPr/>
              <p:nvPr/>
            </p:nvSpPr>
            <p:spPr>
              <a:xfrm flipH="1">
                <a:off x="7942521" y="3792935"/>
                <a:ext cx="3902149" cy="1377552"/>
              </a:xfrm>
              <a:prstGeom prst="roundRect">
                <a:avLst>
                  <a:gd name="adj" fmla="val 50000"/>
                </a:avLst>
              </a:prstGeom>
              <a:solidFill>
                <a:schemeClr val="accent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2" name="椭圆 11">
                <a:extLst>
                  <a:ext uri="{FF2B5EF4-FFF2-40B4-BE49-F238E27FC236}">
                    <a16:creationId xmlns:a16="http://schemas.microsoft.com/office/drawing/2014/main" id="{2DECAE57-BC54-3D49-565F-1B2329B1209D}"/>
                  </a:ext>
                </a:extLst>
              </p:cNvPr>
              <p:cNvSpPr/>
              <p:nvPr/>
            </p:nvSpPr>
            <p:spPr>
              <a:xfrm flipH="1">
                <a:off x="8170072" y="4024486"/>
                <a:ext cx="720000" cy="72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913765">
                  <a:buSzPct val="25000"/>
                </a:pPr>
                <a:r>
                  <a:rPr lang="en-GB" altLang="zh-CN" sz="1600" b="1" dirty="0"/>
                  <a:t>01</a:t>
                </a:r>
                <a:endParaRPr lang="zh-CN" altLang="en-US" sz="1600" b="1" dirty="0"/>
              </a:p>
            </p:txBody>
          </p:sp>
          <p:grpSp>
            <p:nvGrpSpPr>
              <p:cNvPr id="13" name="组合 12">
                <a:extLst>
                  <a:ext uri="{FF2B5EF4-FFF2-40B4-BE49-F238E27FC236}">
                    <a16:creationId xmlns:a16="http://schemas.microsoft.com/office/drawing/2014/main" id="{74BDCEDC-2806-21FF-C49E-6CB89E84B245}"/>
                  </a:ext>
                </a:extLst>
              </p:cNvPr>
              <p:cNvGrpSpPr/>
              <p:nvPr/>
            </p:nvGrpSpPr>
            <p:grpSpPr>
              <a:xfrm>
                <a:off x="9079877" y="3930737"/>
                <a:ext cx="2396255" cy="1239750"/>
                <a:chOff x="9122643" y="3965015"/>
                <a:chExt cx="2396255" cy="1239750"/>
              </a:xfrm>
            </p:grpSpPr>
            <p:sp>
              <p:nvSpPr>
                <p:cNvPr id="14" name="文本框 13">
                  <a:extLst>
                    <a:ext uri="{FF2B5EF4-FFF2-40B4-BE49-F238E27FC236}">
                      <a16:creationId xmlns:a16="http://schemas.microsoft.com/office/drawing/2014/main" id="{4963CFDE-61D5-D6AF-1578-D2F179F243B8}"/>
                    </a:ext>
                  </a:extLst>
                </p:cNvPr>
                <p:cNvSpPr txBox="1"/>
                <p:nvPr/>
              </p:nvSpPr>
              <p:spPr>
                <a:xfrm>
                  <a:off x="9122652" y="3965015"/>
                  <a:ext cx="2396246" cy="369332"/>
                </a:xfrm>
                <a:prstGeom prst="rect">
                  <a:avLst/>
                </a:prstGeom>
                <a:noFill/>
              </p:spPr>
              <p:txBody>
                <a:bodyPr wrap="square">
                  <a:spAutoFit/>
                </a:bodyPr>
                <a:lstStyle/>
                <a:p>
                  <a:r>
                    <a:rPr lang="en-US" altLang="zh-CN" b="1" dirty="0"/>
                    <a:t>Speech synthesis</a:t>
                  </a:r>
                </a:p>
              </p:txBody>
            </p:sp>
            <p:sp>
              <p:nvSpPr>
                <p:cNvPr id="15" name="矩形 14">
                  <a:extLst>
                    <a:ext uri="{FF2B5EF4-FFF2-40B4-BE49-F238E27FC236}">
                      <a16:creationId xmlns:a16="http://schemas.microsoft.com/office/drawing/2014/main" id="{69638AA0-91B4-0A25-7EAB-C3A4150928C4}"/>
                    </a:ext>
                  </a:extLst>
                </p:cNvPr>
                <p:cNvSpPr/>
                <p:nvPr/>
              </p:nvSpPr>
              <p:spPr>
                <a:xfrm>
                  <a:off x="9122643" y="4240747"/>
                  <a:ext cx="2396255" cy="964018"/>
                </a:xfrm>
                <a:prstGeom prst="rect">
                  <a:avLst/>
                </a:prstGeom>
                <a:ln>
                  <a:noFill/>
                </a:ln>
              </p:spPr>
              <p:txBody>
                <a:bodyPr wrap="square" lIns="91440" tIns="45720" rIns="91440" bIns="45720" anchor="t">
                  <a:spAutoFit/>
                </a:bodyPr>
                <a:lstStyle/>
                <a:p>
                  <a:pPr>
                    <a:lnSpc>
                      <a:spcPct val="150000"/>
                    </a:lnSpc>
                  </a:pPr>
                  <a:r>
                    <a:rPr lang="en-US" altLang="zh-CN" sz="1200" dirty="0">
                      <a:solidFill>
                        <a:schemeClr val="tx1">
                          <a:lumMod val="85000"/>
                          <a:lumOff val="15000"/>
                        </a:schemeClr>
                      </a:solidFill>
                    </a:rPr>
                    <a:t>The</a:t>
                  </a:r>
                  <a:r>
                    <a:rPr lang="zh-CN" altLang="en-US" sz="1200" dirty="0">
                      <a:solidFill>
                        <a:schemeClr val="tx1">
                          <a:lumMod val="85000"/>
                          <a:lumOff val="15000"/>
                        </a:schemeClr>
                      </a:solidFill>
                    </a:rPr>
                    <a:t> </a:t>
                  </a:r>
                  <a:r>
                    <a:rPr lang="en-US" altLang="zh-CN" sz="1200" dirty="0">
                      <a:solidFill>
                        <a:schemeClr val="tx1">
                          <a:lumMod val="85000"/>
                          <a:lumOff val="15000"/>
                        </a:schemeClr>
                      </a:solidFill>
                    </a:rPr>
                    <a:t>process</a:t>
                  </a:r>
                  <a:r>
                    <a:rPr lang="zh-CN" altLang="en-US" sz="1200" dirty="0">
                      <a:solidFill>
                        <a:schemeClr val="tx1">
                          <a:lumMod val="85000"/>
                          <a:lumOff val="15000"/>
                        </a:schemeClr>
                      </a:solidFill>
                    </a:rPr>
                    <a:t> </a:t>
                  </a:r>
                  <a:r>
                    <a:rPr lang="en-US" altLang="zh-CN" sz="1200" dirty="0">
                      <a:solidFill>
                        <a:schemeClr val="tx1">
                          <a:lumMod val="85000"/>
                          <a:lumOff val="15000"/>
                        </a:schemeClr>
                      </a:solidFill>
                    </a:rPr>
                    <a:t>of</a:t>
                  </a:r>
                  <a:r>
                    <a:rPr lang="zh-CN" altLang="en-US" sz="1200" dirty="0">
                      <a:solidFill>
                        <a:schemeClr val="tx1">
                          <a:lumMod val="85000"/>
                          <a:lumOff val="15000"/>
                        </a:schemeClr>
                      </a:solidFill>
                    </a:rPr>
                    <a:t> </a:t>
                  </a:r>
                  <a:r>
                    <a:rPr lang="en-US" altLang="zh-CN" sz="1200" dirty="0">
                      <a:solidFill>
                        <a:schemeClr val="tx1">
                          <a:lumMod val="85000"/>
                          <a:lumOff val="15000"/>
                        </a:schemeClr>
                      </a:solidFill>
                    </a:rPr>
                    <a:t>text-to-speech</a:t>
                  </a:r>
                  <a:r>
                    <a:rPr lang="zh-CN" altLang="en-US" sz="1200" dirty="0">
                      <a:solidFill>
                        <a:schemeClr val="tx1">
                          <a:lumMod val="85000"/>
                          <a:lumOff val="15000"/>
                        </a:schemeClr>
                      </a:solidFill>
                    </a:rPr>
                    <a:t> </a:t>
                  </a:r>
                  <a:endParaRPr lang="en-US" altLang="zh-CN" sz="1200" dirty="0">
                    <a:solidFill>
                      <a:schemeClr val="tx1">
                        <a:lumMod val="85000"/>
                        <a:lumOff val="15000"/>
                      </a:schemeClr>
                    </a:solidFill>
                  </a:endParaRPr>
                </a:p>
                <a:p>
                  <a:pPr>
                    <a:lnSpc>
                      <a:spcPct val="150000"/>
                    </a:lnSpc>
                  </a:pPr>
                  <a:r>
                    <a:rPr lang="en-US" altLang="zh-CN" sz="1200" dirty="0">
                      <a:solidFill>
                        <a:schemeClr val="tx1">
                          <a:lumMod val="85000"/>
                          <a:lumOff val="15000"/>
                        </a:schemeClr>
                      </a:solidFill>
                    </a:rPr>
                    <a:t>Generate natural, smooth speech output</a:t>
                  </a:r>
                </a:p>
              </p:txBody>
            </p:sp>
          </p:grpSp>
        </p:grpSp>
      </p:grpSp>
    </p:spTree>
    <p:custDataLst>
      <p:tags r:id="rId1"/>
    </p:custDataLst>
    <p:extLst>
      <p:ext uri="{BB962C8B-B14F-4D97-AF65-F5344CB8AC3E}">
        <p14:creationId xmlns:p14="http://schemas.microsoft.com/office/powerpoint/2010/main" val="195629330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21985F63-AB98-DE97-19AB-9A802F32A3FA}"/>
              </a:ext>
            </a:extLst>
          </p:cNvPr>
          <p:cNvSpPr>
            <a:spLocks noGrp="1"/>
          </p:cNvSpPr>
          <p:nvPr>
            <p:ph type="title"/>
          </p:nvPr>
        </p:nvSpPr>
        <p:spPr/>
        <p:txBody>
          <a:bodyPr/>
          <a:lstStyle/>
          <a:p>
            <a:r>
              <a:rPr lang="en-US" altLang="zh-CN" b="1" dirty="0"/>
              <a:t>Speech synthesis</a:t>
            </a:r>
          </a:p>
        </p:txBody>
      </p:sp>
      <p:sp>
        <p:nvSpPr>
          <p:cNvPr id="4" name="灯片编号占位符 3">
            <a:extLst>
              <a:ext uri="{FF2B5EF4-FFF2-40B4-BE49-F238E27FC236}">
                <a16:creationId xmlns:a16="http://schemas.microsoft.com/office/drawing/2014/main" id="{F47E998E-B788-5F04-8579-DA55EA7128A2}"/>
              </a:ext>
            </a:extLst>
          </p:cNvPr>
          <p:cNvSpPr>
            <a:spLocks noGrp="1"/>
          </p:cNvSpPr>
          <p:nvPr>
            <p:ph type="sldNum" sz="quarter" idx="12"/>
          </p:nvPr>
        </p:nvSpPr>
        <p:spPr/>
        <p:txBody>
          <a:bodyPr/>
          <a:lstStyle/>
          <a:p>
            <a:fld id="{5DD3DB80-B894-403A-B48E-6FDC1A72010E}" type="slidenum">
              <a:rPr lang="zh-CN" altLang="en-US" smtClean="0"/>
              <a:pPr/>
              <a:t>7</a:t>
            </a:fld>
            <a:endParaRPr lang="zh-CN" altLang="en-US"/>
          </a:p>
        </p:txBody>
      </p:sp>
      <p:grpSp>
        <p:nvGrpSpPr>
          <p:cNvPr id="5" name="组合 4">
            <a:extLst>
              <a:ext uri="{FF2B5EF4-FFF2-40B4-BE49-F238E27FC236}">
                <a16:creationId xmlns:a16="http://schemas.microsoft.com/office/drawing/2014/main" id="{84EC075D-DE5B-661F-E0A5-CFCA9E209C92}"/>
              </a:ext>
            </a:extLst>
          </p:cNvPr>
          <p:cNvGrpSpPr/>
          <p:nvPr/>
        </p:nvGrpSpPr>
        <p:grpSpPr>
          <a:xfrm>
            <a:off x="1145946" y="1545074"/>
            <a:ext cx="9900109" cy="4567755"/>
            <a:chOff x="1145946" y="1545074"/>
            <a:chExt cx="9900109" cy="4567755"/>
          </a:xfrm>
        </p:grpSpPr>
        <p:grpSp>
          <p:nvGrpSpPr>
            <p:cNvPr id="6" name="îśľîḑê">
              <a:extLst>
                <a:ext uri="{FF2B5EF4-FFF2-40B4-BE49-F238E27FC236}">
                  <a16:creationId xmlns:a16="http://schemas.microsoft.com/office/drawing/2014/main" id="{3F2EDD0A-B7A1-B6DF-C382-DCA872C32D45}"/>
                </a:ext>
              </a:extLst>
            </p:cNvPr>
            <p:cNvGrpSpPr/>
            <p:nvPr/>
          </p:nvGrpSpPr>
          <p:grpSpPr>
            <a:xfrm>
              <a:off x="1145946" y="2769081"/>
              <a:ext cx="3856109" cy="3017414"/>
              <a:chOff x="3632750" y="2491455"/>
              <a:chExt cx="4185408" cy="3275091"/>
            </a:xfrm>
          </p:grpSpPr>
          <p:sp>
            <p:nvSpPr>
              <p:cNvPr id="23" name="iŝḷïde">
                <a:extLst>
                  <a:ext uri="{FF2B5EF4-FFF2-40B4-BE49-F238E27FC236}">
                    <a16:creationId xmlns:a16="http://schemas.microsoft.com/office/drawing/2014/main" id="{BBF359D8-C450-EB94-48E7-EFDCB3C4BCE5}"/>
                  </a:ext>
                </a:extLst>
              </p:cNvPr>
              <p:cNvSpPr/>
              <p:nvPr/>
            </p:nvSpPr>
            <p:spPr>
              <a:xfrm>
                <a:off x="4202077" y="5225705"/>
                <a:ext cx="3616081" cy="540841"/>
              </a:xfrm>
              <a:custGeom>
                <a:avLst/>
                <a:gdLst>
                  <a:gd name="connsiteX0" fmla="*/ -567 w 3616081"/>
                  <a:gd name="connsiteY0" fmla="*/ 270234 h 540841"/>
                  <a:gd name="connsiteX1" fmla="*/ 1807507 w 3616081"/>
                  <a:gd name="connsiteY1" fmla="*/ -187 h 540841"/>
                  <a:gd name="connsiteX2" fmla="*/ 3615515 w 3616081"/>
                  <a:gd name="connsiteY2" fmla="*/ 270234 h 540841"/>
                  <a:gd name="connsiteX3" fmla="*/ 1807507 w 3616081"/>
                  <a:gd name="connsiteY3" fmla="*/ 540654 h 540841"/>
                  <a:gd name="connsiteX4" fmla="*/ -567 w 3616081"/>
                  <a:gd name="connsiteY4" fmla="*/ 270234 h 540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6081" h="540841">
                    <a:moveTo>
                      <a:pt x="-567" y="270234"/>
                    </a:moveTo>
                    <a:cubicBezTo>
                      <a:pt x="-567" y="120878"/>
                      <a:pt x="808931" y="-187"/>
                      <a:pt x="1807507" y="-187"/>
                    </a:cubicBezTo>
                    <a:cubicBezTo>
                      <a:pt x="2806083" y="-187"/>
                      <a:pt x="3615515" y="120878"/>
                      <a:pt x="3615515" y="270234"/>
                    </a:cubicBezTo>
                    <a:cubicBezTo>
                      <a:pt x="3615515" y="419589"/>
                      <a:pt x="2806083" y="540654"/>
                      <a:pt x="1807507" y="540654"/>
                    </a:cubicBezTo>
                    <a:cubicBezTo>
                      <a:pt x="808931" y="540654"/>
                      <a:pt x="-567" y="419589"/>
                      <a:pt x="-567" y="270234"/>
                    </a:cubicBezTo>
                    <a:close/>
                  </a:path>
                </a:pathLst>
              </a:custGeom>
              <a:solidFill>
                <a:srgbClr val="E8EEF9"/>
              </a:solidFill>
              <a:ln w="6531" cap="flat">
                <a:noFill/>
                <a:prstDash val="solid"/>
                <a:miter/>
              </a:ln>
            </p:spPr>
            <p:txBody>
              <a:bodyPr rtlCol="0" anchor="ctr"/>
              <a:lstStyle/>
              <a:p>
                <a:endParaRPr lang="zh-CN" altLang="en-US"/>
              </a:p>
            </p:txBody>
          </p:sp>
          <p:sp>
            <p:nvSpPr>
              <p:cNvPr id="24" name="iṧḻïḑê">
                <a:extLst>
                  <a:ext uri="{FF2B5EF4-FFF2-40B4-BE49-F238E27FC236}">
                    <a16:creationId xmlns:a16="http://schemas.microsoft.com/office/drawing/2014/main" id="{5F6C560C-1029-BB81-5945-3D94B4E79F41}"/>
                  </a:ext>
                </a:extLst>
              </p:cNvPr>
              <p:cNvSpPr/>
              <p:nvPr/>
            </p:nvSpPr>
            <p:spPr>
              <a:xfrm>
                <a:off x="3632750" y="4695775"/>
                <a:ext cx="1583779" cy="652874"/>
              </a:xfrm>
              <a:custGeom>
                <a:avLst/>
                <a:gdLst>
                  <a:gd name="connsiteX0" fmla="*/ -436 w 1583779"/>
                  <a:gd name="connsiteY0" fmla="*/ 121270 h 652874"/>
                  <a:gd name="connsiteX1" fmla="*/ 532108 w 1583779"/>
                  <a:gd name="connsiteY1" fmla="*/ -187 h 652874"/>
                  <a:gd name="connsiteX2" fmla="*/ 546677 w 1583779"/>
                  <a:gd name="connsiteY2" fmla="*/ 99710 h 652874"/>
                  <a:gd name="connsiteX3" fmla="*/ 645659 w 1583779"/>
                  <a:gd name="connsiteY3" fmla="*/ 16669 h 652874"/>
                  <a:gd name="connsiteX4" fmla="*/ 1583213 w 1583779"/>
                  <a:gd name="connsiteY4" fmla="*/ 476691 h 652874"/>
                  <a:gd name="connsiteX5" fmla="*/ 712562 w 1583779"/>
                  <a:gd name="connsiteY5" fmla="*/ 634671 h 652874"/>
                  <a:gd name="connsiteX6" fmla="*/ 691197 w 1583779"/>
                  <a:gd name="connsiteY6" fmla="*/ 520204 h 652874"/>
                  <a:gd name="connsiteX7" fmla="*/ 639518 w 1583779"/>
                  <a:gd name="connsiteY7" fmla="*/ 618206 h 652874"/>
                  <a:gd name="connsiteX8" fmla="*/ 356292 w 1583779"/>
                  <a:gd name="connsiteY8" fmla="*/ 492894 h 652874"/>
                  <a:gd name="connsiteX9" fmla="*/ 412675 w 1583779"/>
                  <a:gd name="connsiteY9" fmla="*/ 383916 h 652874"/>
                  <a:gd name="connsiteX10" fmla="*/ 282006 w 1583779"/>
                  <a:gd name="connsiteY10" fmla="*/ 440822 h 652874"/>
                  <a:gd name="connsiteX11" fmla="*/ -567 w 1583779"/>
                  <a:gd name="connsiteY11" fmla="*/ 121335 h 652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83779" h="652874">
                    <a:moveTo>
                      <a:pt x="-436" y="121270"/>
                    </a:moveTo>
                    <a:cubicBezTo>
                      <a:pt x="161921" y="44567"/>
                      <a:pt x="381119" y="3668"/>
                      <a:pt x="532108" y="-187"/>
                    </a:cubicBezTo>
                    <a:cubicBezTo>
                      <a:pt x="570067" y="58614"/>
                      <a:pt x="546677" y="99710"/>
                      <a:pt x="546677" y="99710"/>
                    </a:cubicBezTo>
                    <a:lnTo>
                      <a:pt x="645659" y="16669"/>
                    </a:lnTo>
                    <a:cubicBezTo>
                      <a:pt x="1219821" y="51231"/>
                      <a:pt x="1583213" y="476691"/>
                      <a:pt x="1583213" y="476691"/>
                    </a:cubicBezTo>
                    <a:cubicBezTo>
                      <a:pt x="1230405" y="650220"/>
                      <a:pt x="941887" y="677857"/>
                      <a:pt x="712562" y="634671"/>
                    </a:cubicBezTo>
                    <a:cubicBezTo>
                      <a:pt x="703546" y="588936"/>
                      <a:pt x="691197" y="520204"/>
                      <a:pt x="691197" y="520204"/>
                    </a:cubicBezTo>
                    <a:lnTo>
                      <a:pt x="639518" y="618206"/>
                    </a:lnTo>
                    <a:cubicBezTo>
                      <a:pt x="539203" y="591314"/>
                      <a:pt x="443664" y="549043"/>
                      <a:pt x="356292" y="492894"/>
                    </a:cubicBezTo>
                    <a:cubicBezTo>
                      <a:pt x="383471" y="442129"/>
                      <a:pt x="412675" y="383916"/>
                      <a:pt x="412675" y="383916"/>
                    </a:cubicBezTo>
                    <a:lnTo>
                      <a:pt x="282006" y="440822"/>
                    </a:lnTo>
                    <a:cubicBezTo>
                      <a:pt x="89007" y="292774"/>
                      <a:pt x="-567" y="121335"/>
                      <a:pt x="-567" y="121335"/>
                    </a:cubicBezTo>
                    <a:close/>
                  </a:path>
                </a:pathLst>
              </a:custGeom>
              <a:solidFill>
                <a:srgbClr val="62CC95"/>
              </a:solidFill>
              <a:ln w="6531" cap="flat">
                <a:noFill/>
                <a:prstDash val="solid"/>
                <a:miter/>
              </a:ln>
            </p:spPr>
            <p:txBody>
              <a:bodyPr rtlCol="0" anchor="ctr"/>
              <a:lstStyle/>
              <a:p>
                <a:endParaRPr lang="zh-CN" altLang="en-US"/>
              </a:p>
            </p:txBody>
          </p:sp>
          <p:sp>
            <p:nvSpPr>
              <p:cNvPr id="25" name="ïśľiḑè">
                <a:extLst>
                  <a:ext uri="{FF2B5EF4-FFF2-40B4-BE49-F238E27FC236}">
                    <a16:creationId xmlns:a16="http://schemas.microsoft.com/office/drawing/2014/main" id="{00587AAE-F98B-672E-26F3-692B47C23861}"/>
                  </a:ext>
                </a:extLst>
              </p:cNvPr>
              <p:cNvSpPr/>
              <p:nvPr/>
            </p:nvSpPr>
            <p:spPr>
              <a:xfrm>
                <a:off x="3632750" y="4817210"/>
                <a:ext cx="1583648" cy="531504"/>
              </a:xfrm>
              <a:custGeom>
                <a:avLst/>
                <a:gdLst>
                  <a:gd name="connsiteX0" fmla="*/ 712627 w 1583648"/>
                  <a:gd name="connsiteY0" fmla="*/ 513235 h 531504"/>
                  <a:gd name="connsiteX1" fmla="*/ 691197 w 1583648"/>
                  <a:gd name="connsiteY1" fmla="*/ 398769 h 531504"/>
                  <a:gd name="connsiteX2" fmla="*/ 639583 w 1583648"/>
                  <a:gd name="connsiteY2" fmla="*/ 496771 h 531504"/>
                  <a:gd name="connsiteX3" fmla="*/ 356292 w 1583648"/>
                  <a:gd name="connsiteY3" fmla="*/ 371459 h 531504"/>
                  <a:gd name="connsiteX4" fmla="*/ 412741 w 1583648"/>
                  <a:gd name="connsiteY4" fmla="*/ 262481 h 531504"/>
                  <a:gd name="connsiteX5" fmla="*/ 282071 w 1583648"/>
                  <a:gd name="connsiteY5" fmla="*/ 319387 h 531504"/>
                  <a:gd name="connsiteX6" fmla="*/ -567 w 1583648"/>
                  <a:gd name="connsiteY6" fmla="*/ -100 h 531504"/>
                  <a:gd name="connsiteX7" fmla="*/ 1583082 w 1583648"/>
                  <a:gd name="connsiteY7" fmla="*/ 355322 h 531504"/>
                  <a:gd name="connsiteX8" fmla="*/ 712497 w 1583648"/>
                  <a:gd name="connsiteY8" fmla="*/ 513301 h 531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83648" h="531504">
                    <a:moveTo>
                      <a:pt x="712627" y="513235"/>
                    </a:moveTo>
                    <a:cubicBezTo>
                      <a:pt x="703611" y="467501"/>
                      <a:pt x="691197" y="398769"/>
                      <a:pt x="691197" y="398769"/>
                    </a:cubicBezTo>
                    <a:lnTo>
                      <a:pt x="639583" y="496771"/>
                    </a:lnTo>
                    <a:cubicBezTo>
                      <a:pt x="539249" y="469873"/>
                      <a:pt x="443690" y="427601"/>
                      <a:pt x="356292" y="371459"/>
                    </a:cubicBezTo>
                    <a:cubicBezTo>
                      <a:pt x="383536" y="320759"/>
                      <a:pt x="412741" y="262481"/>
                      <a:pt x="412741" y="262481"/>
                    </a:cubicBezTo>
                    <a:lnTo>
                      <a:pt x="282071" y="319387"/>
                    </a:lnTo>
                    <a:cubicBezTo>
                      <a:pt x="88942" y="171273"/>
                      <a:pt x="-567" y="-100"/>
                      <a:pt x="-567" y="-100"/>
                    </a:cubicBezTo>
                    <a:cubicBezTo>
                      <a:pt x="673361" y="-6633"/>
                      <a:pt x="1583082" y="355322"/>
                      <a:pt x="1583082" y="355322"/>
                    </a:cubicBezTo>
                    <a:cubicBezTo>
                      <a:pt x="1230274" y="528851"/>
                      <a:pt x="941756" y="556487"/>
                      <a:pt x="712497" y="513301"/>
                    </a:cubicBezTo>
                    <a:close/>
                  </a:path>
                </a:pathLst>
              </a:custGeom>
              <a:solidFill>
                <a:srgbClr val="4FA77B"/>
              </a:solidFill>
              <a:ln w="6531" cap="flat">
                <a:noFill/>
                <a:prstDash val="solid"/>
                <a:miter/>
              </a:ln>
            </p:spPr>
            <p:txBody>
              <a:bodyPr rtlCol="0" anchor="ctr"/>
              <a:lstStyle/>
              <a:p>
                <a:endParaRPr lang="zh-CN" altLang="en-US"/>
              </a:p>
            </p:txBody>
          </p:sp>
          <p:sp>
            <p:nvSpPr>
              <p:cNvPr id="26" name="íşlídé">
                <a:extLst>
                  <a:ext uri="{FF2B5EF4-FFF2-40B4-BE49-F238E27FC236}">
                    <a16:creationId xmlns:a16="http://schemas.microsoft.com/office/drawing/2014/main" id="{B664E680-8EDB-E5BA-7C8A-BB50B9010D1A}"/>
                  </a:ext>
                </a:extLst>
              </p:cNvPr>
              <p:cNvSpPr/>
              <p:nvPr/>
            </p:nvSpPr>
            <p:spPr>
              <a:xfrm>
                <a:off x="3704161" y="3619173"/>
                <a:ext cx="1373336" cy="1403406"/>
              </a:xfrm>
              <a:custGeom>
                <a:avLst/>
                <a:gdLst>
                  <a:gd name="connsiteX0" fmla="*/ -567 w 1373336"/>
                  <a:gd name="connsiteY0" fmla="*/ 875 h 1403406"/>
                  <a:gd name="connsiteX1" fmla="*/ 213470 w 1373336"/>
                  <a:gd name="connsiteY1" fmla="*/ 625867 h 1403406"/>
                  <a:gd name="connsiteX2" fmla="*/ 325454 w 1373336"/>
                  <a:gd name="connsiteY2" fmla="*/ 577258 h 1403406"/>
                  <a:gd name="connsiteX3" fmla="*/ 303044 w 1373336"/>
                  <a:gd name="connsiteY3" fmla="*/ 731905 h 1403406"/>
                  <a:gd name="connsiteX4" fmla="*/ 1372770 w 1373336"/>
                  <a:gd name="connsiteY4" fmla="*/ 1403219 h 1403406"/>
                  <a:gd name="connsiteX5" fmla="*/ 981153 w 1373336"/>
                  <a:gd name="connsiteY5" fmla="*/ 407387 h 1403406"/>
                  <a:gd name="connsiteX6" fmla="*/ 849765 w 1373336"/>
                  <a:gd name="connsiteY6" fmla="*/ 458218 h 1403406"/>
                  <a:gd name="connsiteX7" fmla="*/ 917648 w 1373336"/>
                  <a:gd name="connsiteY7" fmla="*/ 342771 h 1403406"/>
                  <a:gd name="connsiteX8" fmla="*/ 608484 w 1373336"/>
                  <a:gd name="connsiteY8" fmla="*/ 131283 h 1403406"/>
                  <a:gd name="connsiteX9" fmla="*/ 532369 w 1373336"/>
                  <a:gd name="connsiteY9" fmla="*/ 258620 h 1403406"/>
                  <a:gd name="connsiteX10" fmla="*/ 507803 w 1373336"/>
                  <a:gd name="connsiteY10" fmla="*/ 88162 h 1403406"/>
                  <a:gd name="connsiteX11" fmla="*/ -567 w 1373336"/>
                  <a:gd name="connsiteY11" fmla="*/ 875 h 1403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73336" h="1403406">
                    <a:moveTo>
                      <a:pt x="-567" y="875"/>
                    </a:moveTo>
                    <a:cubicBezTo>
                      <a:pt x="23869" y="216480"/>
                      <a:pt x="121479" y="468018"/>
                      <a:pt x="213470" y="625867"/>
                    </a:cubicBezTo>
                    <a:cubicBezTo>
                      <a:pt x="298405" y="627369"/>
                      <a:pt x="325454" y="577258"/>
                      <a:pt x="325454" y="577258"/>
                    </a:cubicBezTo>
                    <a:lnTo>
                      <a:pt x="303044" y="731905"/>
                    </a:lnTo>
                    <a:cubicBezTo>
                      <a:pt x="704003" y="1300317"/>
                      <a:pt x="1372770" y="1403219"/>
                      <a:pt x="1372770" y="1403219"/>
                    </a:cubicBezTo>
                    <a:cubicBezTo>
                      <a:pt x="1326643" y="929804"/>
                      <a:pt x="1171473" y="615675"/>
                      <a:pt x="981153" y="407387"/>
                    </a:cubicBezTo>
                    <a:cubicBezTo>
                      <a:pt x="928101" y="427380"/>
                      <a:pt x="849765" y="458218"/>
                      <a:pt x="849765" y="458218"/>
                    </a:cubicBezTo>
                    <a:lnTo>
                      <a:pt x="917648" y="342771"/>
                    </a:lnTo>
                    <a:cubicBezTo>
                      <a:pt x="826153" y="256712"/>
                      <a:pt x="721853" y="185367"/>
                      <a:pt x="608484" y="131283"/>
                    </a:cubicBezTo>
                    <a:cubicBezTo>
                      <a:pt x="573660" y="191522"/>
                      <a:pt x="532369" y="258620"/>
                      <a:pt x="532369" y="258620"/>
                    </a:cubicBezTo>
                    <a:lnTo>
                      <a:pt x="507803" y="88162"/>
                    </a:lnTo>
                    <a:cubicBezTo>
                      <a:pt x="232678" y="-16374"/>
                      <a:pt x="-567" y="875"/>
                      <a:pt x="-567" y="875"/>
                    </a:cubicBezTo>
                    <a:close/>
                  </a:path>
                </a:pathLst>
              </a:custGeom>
              <a:solidFill>
                <a:srgbClr val="4FA77B"/>
              </a:solidFill>
              <a:ln w="6531" cap="flat">
                <a:noFill/>
                <a:prstDash val="solid"/>
                <a:miter/>
              </a:ln>
            </p:spPr>
            <p:txBody>
              <a:bodyPr rtlCol="0" anchor="ctr"/>
              <a:lstStyle/>
              <a:p>
                <a:endParaRPr lang="zh-CN" altLang="en-US"/>
              </a:p>
            </p:txBody>
          </p:sp>
          <p:sp>
            <p:nvSpPr>
              <p:cNvPr id="27" name="iSļïḋè">
                <a:extLst>
                  <a:ext uri="{FF2B5EF4-FFF2-40B4-BE49-F238E27FC236}">
                    <a16:creationId xmlns:a16="http://schemas.microsoft.com/office/drawing/2014/main" id="{6C79B73A-CF77-621D-58D1-00826B18A0B6}"/>
                  </a:ext>
                </a:extLst>
              </p:cNvPr>
              <p:cNvSpPr/>
              <p:nvPr/>
            </p:nvSpPr>
            <p:spPr>
              <a:xfrm>
                <a:off x="3704161" y="3619183"/>
                <a:ext cx="1373336" cy="1403396"/>
              </a:xfrm>
              <a:custGeom>
                <a:avLst/>
                <a:gdLst>
                  <a:gd name="connsiteX0" fmla="*/ 981153 w 1373336"/>
                  <a:gd name="connsiteY0" fmla="*/ 407377 h 1403396"/>
                  <a:gd name="connsiteX1" fmla="*/ 849830 w 1373336"/>
                  <a:gd name="connsiteY1" fmla="*/ 458208 h 1403396"/>
                  <a:gd name="connsiteX2" fmla="*/ 917648 w 1373336"/>
                  <a:gd name="connsiteY2" fmla="*/ 342827 h 1403396"/>
                  <a:gd name="connsiteX3" fmla="*/ 608549 w 1373336"/>
                  <a:gd name="connsiteY3" fmla="*/ 131273 h 1403396"/>
                  <a:gd name="connsiteX4" fmla="*/ 532369 w 1373336"/>
                  <a:gd name="connsiteY4" fmla="*/ 258610 h 1403396"/>
                  <a:gd name="connsiteX5" fmla="*/ 507868 w 1373336"/>
                  <a:gd name="connsiteY5" fmla="*/ 88217 h 1403396"/>
                  <a:gd name="connsiteX6" fmla="*/ -567 w 1373336"/>
                  <a:gd name="connsiteY6" fmla="*/ 865 h 1403396"/>
                  <a:gd name="connsiteX7" fmla="*/ 1372770 w 1373336"/>
                  <a:gd name="connsiteY7" fmla="*/ 1403209 h 1403396"/>
                  <a:gd name="connsiteX8" fmla="*/ 981153 w 1373336"/>
                  <a:gd name="connsiteY8" fmla="*/ 407377 h 1403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73336" h="1403396">
                    <a:moveTo>
                      <a:pt x="981153" y="407377"/>
                    </a:moveTo>
                    <a:cubicBezTo>
                      <a:pt x="928167" y="427370"/>
                      <a:pt x="849830" y="458208"/>
                      <a:pt x="849830" y="458208"/>
                    </a:cubicBezTo>
                    <a:lnTo>
                      <a:pt x="917648" y="342827"/>
                    </a:lnTo>
                    <a:cubicBezTo>
                      <a:pt x="826172" y="256748"/>
                      <a:pt x="721905" y="185383"/>
                      <a:pt x="608549" y="131273"/>
                    </a:cubicBezTo>
                    <a:cubicBezTo>
                      <a:pt x="573726" y="191577"/>
                      <a:pt x="532369" y="258610"/>
                      <a:pt x="532369" y="258610"/>
                    </a:cubicBezTo>
                    <a:lnTo>
                      <a:pt x="507868" y="88217"/>
                    </a:lnTo>
                    <a:cubicBezTo>
                      <a:pt x="232678" y="-16318"/>
                      <a:pt x="-567" y="865"/>
                      <a:pt x="-567" y="865"/>
                    </a:cubicBezTo>
                    <a:cubicBezTo>
                      <a:pt x="421822" y="698182"/>
                      <a:pt x="1372770" y="1403209"/>
                      <a:pt x="1372770" y="1403209"/>
                    </a:cubicBezTo>
                    <a:cubicBezTo>
                      <a:pt x="1326643" y="929794"/>
                      <a:pt x="1171473" y="615730"/>
                      <a:pt x="981153" y="407377"/>
                    </a:cubicBezTo>
                    <a:close/>
                  </a:path>
                </a:pathLst>
              </a:custGeom>
              <a:solidFill>
                <a:srgbClr val="62CC95"/>
              </a:solidFill>
              <a:ln w="6531" cap="flat">
                <a:noFill/>
                <a:prstDash val="solid"/>
                <a:miter/>
              </a:ln>
            </p:spPr>
            <p:txBody>
              <a:bodyPr rtlCol="0" anchor="ctr"/>
              <a:lstStyle/>
              <a:p>
                <a:endParaRPr lang="zh-CN" altLang="en-US"/>
              </a:p>
            </p:txBody>
          </p:sp>
          <p:sp>
            <p:nvSpPr>
              <p:cNvPr id="33" name="î$ļîḑe">
                <a:extLst>
                  <a:ext uri="{FF2B5EF4-FFF2-40B4-BE49-F238E27FC236}">
                    <a16:creationId xmlns:a16="http://schemas.microsoft.com/office/drawing/2014/main" id="{6D308D94-4C95-A2E4-15D3-A8A8FC337B41}"/>
                  </a:ext>
                </a:extLst>
              </p:cNvPr>
              <p:cNvSpPr/>
              <p:nvPr/>
            </p:nvSpPr>
            <p:spPr>
              <a:xfrm>
                <a:off x="5369598" y="2535638"/>
                <a:ext cx="1126576" cy="566623"/>
              </a:xfrm>
              <a:custGeom>
                <a:avLst/>
                <a:gdLst>
                  <a:gd name="connsiteX0" fmla="*/ 1126010 w 1126576"/>
                  <a:gd name="connsiteY0" fmla="*/ 403165 h 566623"/>
                  <a:gd name="connsiteX1" fmla="*/ 845071 w 1126576"/>
                  <a:gd name="connsiteY1" fmla="*/ 233294 h 566623"/>
                  <a:gd name="connsiteX2" fmla="*/ 508989 w 1126576"/>
                  <a:gd name="connsiteY2" fmla="*/ 167960 h 566623"/>
                  <a:gd name="connsiteX3" fmla="*/ 365644 w 1126576"/>
                  <a:gd name="connsiteY3" fmla="*/ 143916 h 566623"/>
                  <a:gd name="connsiteX4" fmla="*/ 220667 w 1126576"/>
                  <a:gd name="connsiteY4" fmla="*/ 39381 h 566623"/>
                  <a:gd name="connsiteX5" fmla="*/ 210409 w 1126576"/>
                  <a:gd name="connsiteY5" fmla="*/ 19323 h 566623"/>
                  <a:gd name="connsiteX6" fmla="*/ 205901 w 1126576"/>
                  <a:gd name="connsiteY6" fmla="*/ 18604 h 566623"/>
                  <a:gd name="connsiteX7" fmla="*/ 97903 w 1126576"/>
                  <a:gd name="connsiteY7" fmla="*/ 3512 h 566623"/>
                  <a:gd name="connsiteX8" fmla="*/ 47595 w 1126576"/>
                  <a:gd name="connsiteY8" fmla="*/ 94001 h 566623"/>
                  <a:gd name="connsiteX9" fmla="*/ 11334 w 1126576"/>
                  <a:gd name="connsiteY9" fmla="*/ 56499 h 566623"/>
                  <a:gd name="connsiteX10" fmla="*/ 2841 w 1126576"/>
                  <a:gd name="connsiteY10" fmla="*/ 177956 h 566623"/>
                  <a:gd name="connsiteX11" fmla="*/ 103652 w 1126576"/>
                  <a:gd name="connsiteY11" fmla="*/ 237410 h 566623"/>
                  <a:gd name="connsiteX12" fmla="*/ 313834 w 1126576"/>
                  <a:gd name="connsiteY12" fmla="*/ 275174 h 566623"/>
                  <a:gd name="connsiteX13" fmla="*/ 721653 w 1126576"/>
                  <a:gd name="connsiteY13" fmla="*/ 472354 h 566623"/>
                  <a:gd name="connsiteX14" fmla="*/ 997627 w 1126576"/>
                  <a:gd name="connsiteY14" fmla="*/ 566436 h 566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26576" h="566623">
                    <a:moveTo>
                      <a:pt x="1126010" y="403165"/>
                    </a:moveTo>
                    <a:cubicBezTo>
                      <a:pt x="1093343" y="318229"/>
                      <a:pt x="912104" y="252568"/>
                      <a:pt x="845071" y="233294"/>
                    </a:cubicBezTo>
                    <a:cubicBezTo>
                      <a:pt x="731519" y="200627"/>
                      <a:pt x="599216" y="171292"/>
                      <a:pt x="508989" y="167960"/>
                    </a:cubicBezTo>
                    <a:cubicBezTo>
                      <a:pt x="460269" y="167241"/>
                      <a:pt x="411934" y="159133"/>
                      <a:pt x="365644" y="143916"/>
                    </a:cubicBezTo>
                    <a:cubicBezTo>
                      <a:pt x="337616" y="78582"/>
                      <a:pt x="220667" y="39381"/>
                      <a:pt x="220667" y="39381"/>
                    </a:cubicBezTo>
                    <a:cubicBezTo>
                      <a:pt x="223365" y="31011"/>
                      <a:pt x="218778" y="22034"/>
                      <a:pt x="210409" y="19323"/>
                    </a:cubicBezTo>
                    <a:cubicBezTo>
                      <a:pt x="208952" y="18853"/>
                      <a:pt x="207430" y="18611"/>
                      <a:pt x="205901" y="18604"/>
                    </a:cubicBezTo>
                    <a:cubicBezTo>
                      <a:pt x="185909" y="16252"/>
                      <a:pt x="128479" y="-9620"/>
                      <a:pt x="97903" y="3512"/>
                    </a:cubicBezTo>
                    <a:cubicBezTo>
                      <a:pt x="67326" y="16644"/>
                      <a:pt x="47595" y="94001"/>
                      <a:pt x="47595" y="94001"/>
                    </a:cubicBezTo>
                    <a:cubicBezTo>
                      <a:pt x="37076" y="48266"/>
                      <a:pt x="11334" y="56499"/>
                      <a:pt x="11334" y="56499"/>
                    </a:cubicBezTo>
                    <a:cubicBezTo>
                      <a:pt x="11334" y="56499"/>
                      <a:pt x="-8266" y="153586"/>
                      <a:pt x="2841" y="177956"/>
                    </a:cubicBezTo>
                    <a:cubicBezTo>
                      <a:pt x="7153" y="187495"/>
                      <a:pt x="51777" y="215262"/>
                      <a:pt x="103652" y="237410"/>
                    </a:cubicBezTo>
                    <a:cubicBezTo>
                      <a:pt x="158076" y="260474"/>
                      <a:pt x="313834" y="275174"/>
                      <a:pt x="313834" y="275174"/>
                    </a:cubicBezTo>
                    <a:cubicBezTo>
                      <a:pt x="313834" y="275174"/>
                      <a:pt x="638940" y="432827"/>
                      <a:pt x="721653" y="472354"/>
                    </a:cubicBezTo>
                    <a:cubicBezTo>
                      <a:pt x="830893" y="524622"/>
                      <a:pt x="997627" y="566436"/>
                      <a:pt x="997627" y="566436"/>
                    </a:cubicBezTo>
                  </a:path>
                </a:pathLst>
              </a:custGeom>
              <a:solidFill>
                <a:srgbClr val="FCB9AE"/>
              </a:solidFill>
              <a:ln w="6531" cap="flat">
                <a:noFill/>
                <a:prstDash val="solid"/>
                <a:miter/>
              </a:ln>
            </p:spPr>
            <p:txBody>
              <a:bodyPr rtlCol="0" anchor="ctr"/>
              <a:lstStyle/>
              <a:p>
                <a:endParaRPr lang="zh-CN" altLang="en-US"/>
              </a:p>
            </p:txBody>
          </p:sp>
          <p:sp>
            <p:nvSpPr>
              <p:cNvPr id="34" name="iśľîdé">
                <a:extLst>
                  <a:ext uri="{FF2B5EF4-FFF2-40B4-BE49-F238E27FC236}">
                    <a16:creationId xmlns:a16="http://schemas.microsoft.com/office/drawing/2014/main" id="{4C347088-E8C0-CEAA-3DD3-D296A1A31590}"/>
                  </a:ext>
                </a:extLst>
              </p:cNvPr>
              <p:cNvSpPr/>
              <p:nvPr/>
            </p:nvSpPr>
            <p:spPr>
              <a:xfrm>
                <a:off x="5517330" y="2575728"/>
                <a:ext cx="81668" cy="94212"/>
              </a:xfrm>
              <a:custGeom>
                <a:avLst/>
                <a:gdLst>
                  <a:gd name="connsiteX0" fmla="*/ 81102 w 81668"/>
                  <a:gd name="connsiteY0" fmla="*/ -187 h 94212"/>
                  <a:gd name="connsiteX1" fmla="*/ 57843 w 81668"/>
                  <a:gd name="connsiteY1" fmla="*/ 17192 h 94212"/>
                  <a:gd name="connsiteX2" fmla="*/ 42162 w 81668"/>
                  <a:gd name="connsiteY2" fmla="*/ 54237 h 94212"/>
                  <a:gd name="connsiteX3" fmla="*/ -567 w 81668"/>
                  <a:gd name="connsiteY3" fmla="*/ 94026 h 94212"/>
                </a:gdLst>
                <a:ahLst/>
                <a:cxnLst>
                  <a:cxn ang="0">
                    <a:pos x="connsiteX0" y="connsiteY0"/>
                  </a:cxn>
                  <a:cxn ang="0">
                    <a:pos x="connsiteX1" y="connsiteY1"/>
                  </a:cxn>
                  <a:cxn ang="0">
                    <a:pos x="connsiteX2" y="connsiteY2"/>
                  </a:cxn>
                  <a:cxn ang="0">
                    <a:pos x="connsiteX3" y="connsiteY3"/>
                  </a:cxn>
                </a:cxnLst>
                <a:rect l="l" t="t" r="r" b="b"/>
                <a:pathLst>
                  <a:path w="81668" h="94212">
                    <a:moveTo>
                      <a:pt x="81102" y="-187"/>
                    </a:moveTo>
                    <a:cubicBezTo>
                      <a:pt x="75489" y="8026"/>
                      <a:pt x="67309" y="14134"/>
                      <a:pt x="57843" y="17192"/>
                    </a:cubicBezTo>
                    <a:cubicBezTo>
                      <a:pt x="57843" y="17192"/>
                      <a:pt x="66467" y="44829"/>
                      <a:pt x="42162" y="54237"/>
                    </a:cubicBezTo>
                    <a:cubicBezTo>
                      <a:pt x="42162" y="54237"/>
                      <a:pt x="57451" y="93960"/>
                      <a:pt x="-567" y="94026"/>
                    </a:cubicBezTo>
                  </a:path>
                </a:pathLst>
              </a:custGeom>
              <a:noFill/>
              <a:ln w="1633" cap="rnd">
                <a:solidFill>
                  <a:srgbClr val="263238"/>
                </a:solidFill>
                <a:prstDash val="solid"/>
                <a:round/>
              </a:ln>
            </p:spPr>
            <p:txBody>
              <a:bodyPr rtlCol="0" anchor="ctr"/>
              <a:lstStyle/>
              <a:p>
                <a:endParaRPr lang="zh-CN" altLang="en-US"/>
              </a:p>
            </p:txBody>
          </p:sp>
          <p:sp>
            <p:nvSpPr>
              <p:cNvPr id="35" name="ïşḷíḑe">
                <a:extLst>
                  <a:ext uri="{FF2B5EF4-FFF2-40B4-BE49-F238E27FC236}">
                    <a16:creationId xmlns:a16="http://schemas.microsoft.com/office/drawing/2014/main" id="{752881B1-1E4A-683F-A387-E5267DBCFA1E}"/>
                  </a:ext>
                </a:extLst>
              </p:cNvPr>
              <p:cNvSpPr/>
              <p:nvPr/>
            </p:nvSpPr>
            <p:spPr>
              <a:xfrm>
                <a:off x="5471465" y="2602909"/>
                <a:ext cx="84935" cy="26067"/>
              </a:xfrm>
              <a:custGeom>
                <a:avLst/>
                <a:gdLst>
                  <a:gd name="connsiteX0" fmla="*/ 84368 w 84935"/>
                  <a:gd name="connsiteY0" fmla="*/ 25880 h 26067"/>
                  <a:gd name="connsiteX1" fmla="*/ -567 w 84935"/>
                  <a:gd name="connsiteY1" fmla="*/ 138 h 26067"/>
                </a:gdLst>
                <a:ahLst/>
                <a:cxnLst>
                  <a:cxn ang="0">
                    <a:pos x="connsiteX0" y="connsiteY0"/>
                  </a:cxn>
                  <a:cxn ang="0">
                    <a:pos x="connsiteX1" y="connsiteY1"/>
                  </a:cxn>
                </a:cxnLst>
                <a:rect l="l" t="t" r="r" b="b"/>
                <a:pathLst>
                  <a:path w="84935" h="26067">
                    <a:moveTo>
                      <a:pt x="84368" y="25880"/>
                    </a:moveTo>
                    <a:cubicBezTo>
                      <a:pt x="84368" y="25880"/>
                      <a:pt x="19818" y="-3586"/>
                      <a:pt x="-567" y="138"/>
                    </a:cubicBezTo>
                  </a:path>
                </a:pathLst>
              </a:custGeom>
              <a:noFill/>
              <a:ln w="1633" cap="rnd">
                <a:solidFill>
                  <a:srgbClr val="263238"/>
                </a:solidFill>
                <a:prstDash val="solid"/>
                <a:round/>
              </a:ln>
            </p:spPr>
            <p:txBody>
              <a:bodyPr rtlCol="0" anchor="ctr"/>
              <a:lstStyle/>
              <a:p>
                <a:endParaRPr lang="zh-CN" altLang="en-US"/>
              </a:p>
            </p:txBody>
          </p:sp>
          <p:sp>
            <p:nvSpPr>
              <p:cNvPr id="36" name="íṧļiḋê">
                <a:extLst>
                  <a:ext uri="{FF2B5EF4-FFF2-40B4-BE49-F238E27FC236}">
                    <a16:creationId xmlns:a16="http://schemas.microsoft.com/office/drawing/2014/main" id="{226DF3A1-30D4-7196-1AF1-5B5E578C8159}"/>
                  </a:ext>
                </a:extLst>
              </p:cNvPr>
              <p:cNvSpPr/>
              <p:nvPr/>
            </p:nvSpPr>
            <p:spPr>
              <a:xfrm>
                <a:off x="5490412" y="2561598"/>
                <a:ext cx="77029" cy="31117"/>
              </a:xfrm>
              <a:custGeom>
                <a:avLst/>
                <a:gdLst>
                  <a:gd name="connsiteX0" fmla="*/ 76463 w 77029"/>
                  <a:gd name="connsiteY0" fmla="*/ 30931 h 31117"/>
                  <a:gd name="connsiteX1" fmla="*/ -567 w 77029"/>
                  <a:gd name="connsiteY1" fmla="*/ 1008 h 31117"/>
                </a:gdLst>
                <a:ahLst/>
                <a:cxnLst>
                  <a:cxn ang="0">
                    <a:pos x="connsiteX0" y="connsiteY0"/>
                  </a:cxn>
                  <a:cxn ang="0">
                    <a:pos x="connsiteX1" y="connsiteY1"/>
                  </a:cxn>
                </a:cxnLst>
                <a:rect l="l" t="t" r="r" b="b"/>
                <a:pathLst>
                  <a:path w="77029" h="31117">
                    <a:moveTo>
                      <a:pt x="76463" y="30931"/>
                    </a:moveTo>
                    <a:cubicBezTo>
                      <a:pt x="76463" y="30931"/>
                      <a:pt x="17661" y="-7355"/>
                      <a:pt x="-567" y="1008"/>
                    </a:cubicBezTo>
                  </a:path>
                </a:pathLst>
              </a:custGeom>
              <a:noFill/>
              <a:ln w="1633" cap="rnd">
                <a:solidFill>
                  <a:srgbClr val="263238"/>
                </a:solidFill>
                <a:prstDash val="solid"/>
                <a:round/>
              </a:ln>
            </p:spPr>
            <p:txBody>
              <a:bodyPr rtlCol="0" anchor="ctr"/>
              <a:lstStyle/>
              <a:p>
                <a:endParaRPr lang="zh-CN" altLang="en-US"/>
              </a:p>
            </p:txBody>
          </p:sp>
          <p:sp>
            <p:nvSpPr>
              <p:cNvPr id="37" name="îsliďe">
                <a:extLst>
                  <a:ext uri="{FF2B5EF4-FFF2-40B4-BE49-F238E27FC236}">
                    <a16:creationId xmlns:a16="http://schemas.microsoft.com/office/drawing/2014/main" id="{979CCBF1-9489-ADD0-1FB2-11A4154E9968}"/>
                  </a:ext>
                </a:extLst>
              </p:cNvPr>
              <p:cNvSpPr/>
              <p:nvPr/>
            </p:nvSpPr>
            <p:spPr>
              <a:xfrm>
                <a:off x="5409920" y="2628715"/>
                <a:ext cx="16236" cy="68536"/>
              </a:xfrm>
              <a:custGeom>
                <a:avLst/>
                <a:gdLst>
                  <a:gd name="connsiteX0" fmla="*/ -567 w 16236"/>
                  <a:gd name="connsiteY0" fmla="*/ 68349 h 68536"/>
                  <a:gd name="connsiteX1" fmla="*/ 13611 w 16236"/>
                  <a:gd name="connsiteY1" fmla="*/ -187 h 68536"/>
                </a:gdLst>
                <a:ahLst/>
                <a:cxnLst>
                  <a:cxn ang="0">
                    <a:pos x="connsiteX0" y="connsiteY0"/>
                  </a:cxn>
                  <a:cxn ang="0">
                    <a:pos x="connsiteX1" y="connsiteY1"/>
                  </a:cxn>
                </a:cxnLst>
                <a:rect l="l" t="t" r="r" b="b"/>
                <a:pathLst>
                  <a:path w="16236" h="68536">
                    <a:moveTo>
                      <a:pt x="-567" y="68349"/>
                    </a:moveTo>
                    <a:cubicBezTo>
                      <a:pt x="-567" y="68349"/>
                      <a:pt x="22562" y="33068"/>
                      <a:pt x="13611" y="-187"/>
                    </a:cubicBezTo>
                  </a:path>
                </a:pathLst>
              </a:custGeom>
              <a:noFill/>
              <a:ln w="1633" cap="rnd">
                <a:solidFill>
                  <a:srgbClr val="263238"/>
                </a:solidFill>
                <a:prstDash val="solid"/>
                <a:round/>
              </a:ln>
            </p:spPr>
            <p:txBody>
              <a:bodyPr rtlCol="0" anchor="ctr"/>
              <a:lstStyle/>
              <a:p>
                <a:endParaRPr lang="zh-CN" altLang="en-US"/>
              </a:p>
            </p:txBody>
          </p:sp>
          <p:sp>
            <p:nvSpPr>
              <p:cNvPr id="38" name="iSlíďê">
                <a:extLst>
                  <a:ext uri="{FF2B5EF4-FFF2-40B4-BE49-F238E27FC236}">
                    <a16:creationId xmlns:a16="http://schemas.microsoft.com/office/drawing/2014/main" id="{31A97029-5B4F-0D1E-7562-CB6219EA7C8A}"/>
                  </a:ext>
                </a:extLst>
              </p:cNvPr>
              <p:cNvSpPr/>
              <p:nvPr/>
            </p:nvSpPr>
            <p:spPr>
              <a:xfrm>
                <a:off x="5413579" y="2685033"/>
                <a:ext cx="36391" cy="11041"/>
              </a:xfrm>
              <a:custGeom>
                <a:avLst/>
                <a:gdLst>
                  <a:gd name="connsiteX0" fmla="*/ -567 w 36391"/>
                  <a:gd name="connsiteY0" fmla="*/ -187 h 11041"/>
                  <a:gd name="connsiteX1" fmla="*/ 35825 w 36391"/>
                  <a:gd name="connsiteY1" fmla="*/ 10855 h 11041"/>
                </a:gdLst>
                <a:ahLst/>
                <a:cxnLst>
                  <a:cxn ang="0">
                    <a:pos x="connsiteX0" y="connsiteY0"/>
                  </a:cxn>
                  <a:cxn ang="0">
                    <a:pos x="connsiteX1" y="connsiteY1"/>
                  </a:cxn>
                </a:cxnLst>
                <a:rect l="l" t="t" r="r" b="b"/>
                <a:pathLst>
                  <a:path w="36391" h="11041">
                    <a:moveTo>
                      <a:pt x="-567" y="-187"/>
                    </a:moveTo>
                    <a:cubicBezTo>
                      <a:pt x="11122" y="4824"/>
                      <a:pt x="23326" y="8529"/>
                      <a:pt x="35825" y="10855"/>
                    </a:cubicBezTo>
                  </a:path>
                </a:pathLst>
              </a:custGeom>
              <a:noFill/>
              <a:ln w="1633" cap="rnd">
                <a:solidFill>
                  <a:srgbClr val="263238"/>
                </a:solidFill>
                <a:prstDash val="solid"/>
                <a:round/>
              </a:ln>
            </p:spPr>
            <p:txBody>
              <a:bodyPr rtlCol="0" anchor="ctr"/>
              <a:lstStyle/>
              <a:p>
                <a:endParaRPr lang="zh-CN" altLang="en-US"/>
              </a:p>
            </p:txBody>
          </p:sp>
          <p:sp>
            <p:nvSpPr>
              <p:cNvPr id="39" name="ísľide">
                <a:extLst>
                  <a:ext uri="{FF2B5EF4-FFF2-40B4-BE49-F238E27FC236}">
                    <a16:creationId xmlns:a16="http://schemas.microsoft.com/office/drawing/2014/main" id="{7B7D3260-09CD-D390-D7F4-1E637537FE25}"/>
                  </a:ext>
                </a:extLst>
              </p:cNvPr>
              <p:cNvSpPr/>
              <p:nvPr/>
            </p:nvSpPr>
            <p:spPr>
              <a:xfrm>
                <a:off x="5426450" y="2602858"/>
                <a:ext cx="281396" cy="184554"/>
              </a:xfrm>
              <a:custGeom>
                <a:avLst/>
                <a:gdLst>
                  <a:gd name="connsiteX0" fmla="*/ 280830 w 281396"/>
                  <a:gd name="connsiteY0" fmla="*/ 119229 h 184554"/>
                  <a:gd name="connsiteX1" fmla="*/ 139446 w 281396"/>
                  <a:gd name="connsiteY1" fmla="*/ 62322 h 184554"/>
                  <a:gd name="connsiteX2" fmla="*/ 84368 w 281396"/>
                  <a:gd name="connsiteY2" fmla="*/ 65524 h 184554"/>
                  <a:gd name="connsiteX3" fmla="*/ -567 w 281396"/>
                  <a:gd name="connsiteY3" fmla="*/ 4371 h 184554"/>
                  <a:gd name="connsiteX4" fmla="*/ 51701 w 281396"/>
                  <a:gd name="connsiteY4" fmla="*/ 128180 h 184554"/>
                  <a:gd name="connsiteX5" fmla="*/ 194000 w 281396"/>
                  <a:gd name="connsiteY5" fmla="*/ 184368 h 184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1396" h="184554">
                    <a:moveTo>
                      <a:pt x="280830" y="119229"/>
                    </a:moveTo>
                    <a:cubicBezTo>
                      <a:pt x="280830" y="119229"/>
                      <a:pt x="206740" y="36776"/>
                      <a:pt x="139446" y="62322"/>
                    </a:cubicBezTo>
                    <a:cubicBezTo>
                      <a:pt x="121511" y="67229"/>
                      <a:pt x="102747" y="68320"/>
                      <a:pt x="84368" y="65524"/>
                    </a:cubicBezTo>
                    <a:cubicBezTo>
                      <a:pt x="84368" y="65524"/>
                      <a:pt x="32688" y="-20653"/>
                      <a:pt x="-567" y="4371"/>
                    </a:cubicBezTo>
                    <a:lnTo>
                      <a:pt x="51701" y="128180"/>
                    </a:lnTo>
                    <a:cubicBezTo>
                      <a:pt x="91503" y="162311"/>
                      <a:pt x="141614" y="182101"/>
                      <a:pt x="194000" y="184368"/>
                    </a:cubicBezTo>
                  </a:path>
                </a:pathLst>
              </a:custGeom>
              <a:solidFill>
                <a:srgbClr val="FCB9AE"/>
              </a:solidFill>
              <a:ln w="6531" cap="flat">
                <a:noFill/>
                <a:prstDash val="solid"/>
                <a:miter/>
              </a:ln>
            </p:spPr>
            <p:txBody>
              <a:bodyPr rtlCol="0" anchor="ctr"/>
              <a:lstStyle/>
              <a:p>
                <a:endParaRPr lang="zh-CN" altLang="en-US"/>
              </a:p>
            </p:txBody>
          </p:sp>
          <p:sp>
            <p:nvSpPr>
              <p:cNvPr id="40" name="isliḋe">
                <a:extLst>
                  <a:ext uri="{FF2B5EF4-FFF2-40B4-BE49-F238E27FC236}">
                    <a16:creationId xmlns:a16="http://schemas.microsoft.com/office/drawing/2014/main" id="{E0DCE2E8-2C76-F5D3-D30A-4F189594C836}"/>
                  </a:ext>
                </a:extLst>
              </p:cNvPr>
              <p:cNvSpPr/>
              <p:nvPr/>
            </p:nvSpPr>
            <p:spPr>
              <a:xfrm>
                <a:off x="5426450" y="2602858"/>
                <a:ext cx="281396" cy="184489"/>
              </a:xfrm>
              <a:custGeom>
                <a:avLst/>
                <a:gdLst>
                  <a:gd name="connsiteX0" fmla="*/ 280830 w 281396"/>
                  <a:gd name="connsiteY0" fmla="*/ 119229 h 184489"/>
                  <a:gd name="connsiteX1" fmla="*/ 139446 w 281396"/>
                  <a:gd name="connsiteY1" fmla="*/ 62322 h 184489"/>
                  <a:gd name="connsiteX2" fmla="*/ 84368 w 281396"/>
                  <a:gd name="connsiteY2" fmla="*/ 65524 h 184489"/>
                  <a:gd name="connsiteX3" fmla="*/ -567 w 281396"/>
                  <a:gd name="connsiteY3" fmla="*/ 4371 h 184489"/>
                  <a:gd name="connsiteX4" fmla="*/ 51701 w 281396"/>
                  <a:gd name="connsiteY4" fmla="*/ 128180 h 184489"/>
                  <a:gd name="connsiteX5" fmla="*/ 194000 w 281396"/>
                  <a:gd name="connsiteY5" fmla="*/ 184302 h 184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1396" h="184489">
                    <a:moveTo>
                      <a:pt x="280830" y="119229"/>
                    </a:moveTo>
                    <a:cubicBezTo>
                      <a:pt x="280830" y="119229"/>
                      <a:pt x="206740" y="36776"/>
                      <a:pt x="139446" y="62322"/>
                    </a:cubicBezTo>
                    <a:cubicBezTo>
                      <a:pt x="121511" y="67229"/>
                      <a:pt x="102747" y="68320"/>
                      <a:pt x="84368" y="65524"/>
                    </a:cubicBezTo>
                    <a:cubicBezTo>
                      <a:pt x="84368" y="65524"/>
                      <a:pt x="32688" y="-20653"/>
                      <a:pt x="-567" y="4371"/>
                    </a:cubicBezTo>
                    <a:lnTo>
                      <a:pt x="51701" y="128180"/>
                    </a:lnTo>
                    <a:cubicBezTo>
                      <a:pt x="91496" y="162324"/>
                      <a:pt x="141614" y="182087"/>
                      <a:pt x="194000" y="184302"/>
                    </a:cubicBezTo>
                  </a:path>
                </a:pathLst>
              </a:custGeom>
              <a:noFill/>
              <a:ln w="1633" cap="rnd">
                <a:solidFill>
                  <a:srgbClr val="263238"/>
                </a:solidFill>
                <a:prstDash val="solid"/>
                <a:round/>
              </a:ln>
            </p:spPr>
            <p:txBody>
              <a:bodyPr rtlCol="0" anchor="ctr"/>
              <a:lstStyle/>
              <a:p>
                <a:endParaRPr lang="zh-CN" altLang="en-US"/>
              </a:p>
            </p:txBody>
          </p:sp>
          <p:sp>
            <p:nvSpPr>
              <p:cNvPr id="41" name="ïślîḓe">
                <a:extLst>
                  <a:ext uri="{FF2B5EF4-FFF2-40B4-BE49-F238E27FC236}">
                    <a16:creationId xmlns:a16="http://schemas.microsoft.com/office/drawing/2014/main" id="{FEBF6AF5-1478-A198-C4A2-D05FDE47725B}"/>
                  </a:ext>
                </a:extLst>
              </p:cNvPr>
              <p:cNvSpPr/>
              <p:nvPr/>
            </p:nvSpPr>
            <p:spPr>
              <a:xfrm>
                <a:off x="5831329" y="2914263"/>
                <a:ext cx="673276" cy="646908"/>
              </a:xfrm>
              <a:custGeom>
                <a:avLst/>
                <a:gdLst>
                  <a:gd name="connsiteX0" fmla="*/ 602473 w 673276"/>
                  <a:gd name="connsiteY0" fmla="*/ 1933 h 646908"/>
                  <a:gd name="connsiteX1" fmla="*/ 670617 w 673276"/>
                  <a:gd name="connsiteY1" fmla="*/ 39873 h 646908"/>
                  <a:gd name="connsiteX2" fmla="*/ 671466 w 673276"/>
                  <a:gd name="connsiteY2" fmla="*/ 66615 h 646908"/>
                  <a:gd name="connsiteX3" fmla="*/ 532173 w 673276"/>
                  <a:gd name="connsiteY3" fmla="*/ 350298 h 646908"/>
                  <a:gd name="connsiteX4" fmla="*/ 144215 w 673276"/>
                  <a:gd name="connsiteY4" fmla="*/ 646722 h 646908"/>
                  <a:gd name="connsiteX5" fmla="*/ -567 w 673276"/>
                  <a:gd name="connsiteY5" fmla="*/ 303911 h 646908"/>
                  <a:gd name="connsiteX6" fmla="*/ 494409 w 673276"/>
                  <a:gd name="connsiteY6" fmla="*/ 32641 h 646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3276" h="646908">
                    <a:moveTo>
                      <a:pt x="602473" y="1933"/>
                    </a:moveTo>
                    <a:cubicBezTo>
                      <a:pt x="631743" y="-6403"/>
                      <a:pt x="662254" y="10584"/>
                      <a:pt x="670617" y="39873"/>
                    </a:cubicBezTo>
                    <a:cubicBezTo>
                      <a:pt x="673100" y="48582"/>
                      <a:pt x="673361" y="57768"/>
                      <a:pt x="671466" y="66615"/>
                    </a:cubicBezTo>
                    <a:cubicBezTo>
                      <a:pt x="655198" y="142403"/>
                      <a:pt x="617827" y="254452"/>
                      <a:pt x="532173" y="350298"/>
                    </a:cubicBezTo>
                    <a:cubicBezTo>
                      <a:pt x="450831" y="441309"/>
                      <a:pt x="144215" y="646722"/>
                      <a:pt x="144215" y="646722"/>
                    </a:cubicBezTo>
                    <a:lnTo>
                      <a:pt x="-567" y="303911"/>
                    </a:lnTo>
                    <a:cubicBezTo>
                      <a:pt x="106452" y="207476"/>
                      <a:pt x="494409" y="32641"/>
                      <a:pt x="494409" y="32641"/>
                    </a:cubicBezTo>
                    <a:close/>
                  </a:path>
                </a:pathLst>
              </a:custGeom>
              <a:solidFill>
                <a:srgbClr val="FCB9AE"/>
              </a:solidFill>
              <a:ln w="6531" cap="flat">
                <a:noFill/>
                <a:prstDash val="solid"/>
                <a:miter/>
              </a:ln>
            </p:spPr>
            <p:txBody>
              <a:bodyPr rtlCol="0" anchor="ctr"/>
              <a:lstStyle/>
              <a:p>
                <a:endParaRPr lang="zh-CN" altLang="en-US"/>
              </a:p>
            </p:txBody>
          </p:sp>
          <p:sp>
            <p:nvSpPr>
              <p:cNvPr id="43" name="ïSľíḋe">
                <a:extLst>
                  <a:ext uri="{FF2B5EF4-FFF2-40B4-BE49-F238E27FC236}">
                    <a16:creationId xmlns:a16="http://schemas.microsoft.com/office/drawing/2014/main" id="{0F4F7BD6-05B6-AAEF-F115-F1DED35687A0}"/>
                  </a:ext>
                </a:extLst>
              </p:cNvPr>
              <p:cNvSpPr/>
              <p:nvPr/>
            </p:nvSpPr>
            <p:spPr>
              <a:xfrm>
                <a:off x="5194903" y="3066484"/>
                <a:ext cx="348009" cy="396345"/>
              </a:xfrm>
              <a:custGeom>
                <a:avLst/>
                <a:gdLst>
                  <a:gd name="connsiteX0" fmla="*/ 26678 w 348009"/>
                  <a:gd name="connsiteY0" fmla="*/ 310062 h 396345"/>
                  <a:gd name="connsiteX1" fmla="*/ 61501 w 348009"/>
                  <a:gd name="connsiteY1" fmla="*/ 372260 h 396345"/>
                  <a:gd name="connsiteX2" fmla="*/ 346230 w 348009"/>
                  <a:gd name="connsiteY2" fmla="*/ 320972 h 396345"/>
                  <a:gd name="connsiteX3" fmla="*/ 301149 w 348009"/>
                  <a:gd name="connsiteY3" fmla="*/ 236037 h 396345"/>
                  <a:gd name="connsiteX4" fmla="*/ 333816 w 348009"/>
                  <a:gd name="connsiteY4" fmla="*/ 138035 h 396345"/>
                  <a:gd name="connsiteX5" fmla="*/ 309316 w 348009"/>
                  <a:gd name="connsiteY5" fmla="*/ 40033 h 396345"/>
                  <a:gd name="connsiteX6" fmla="*/ -567 w 348009"/>
                  <a:gd name="connsiteY6" fmla="*/ 77797 h 396345"/>
                  <a:gd name="connsiteX7" fmla="*/ 26678 w 348009"/>
                  <a:gd name="connsiteY7" fmla="*/ 310062 h 396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8009" h="396345">
                    <a:moveTo>
                      <a:pt x="26678" y="310062"/>
                    </a:moveTo>
                    <a:cubicBezTo>
                      <a:pt x="26678" y="310062"/>
                      <a:pt x="5248" y="350896"/>
                      <a:pt x="61501" y="372260"/>
                    </a:cubicBezTo>
                    <a:cubicBezTo>
                      <a:pt x="207393" y="426749"/>
                      <a:pt x="362760" y="378794"/>
                      <a:pt x="346230" y="320972"/>
                    </a:cubicBezTo>
                    <a:cubicBezTo>
                      <a:pt x="339696" y="298955"/>
                      <a:pt x="306702" y="317248"/>
                      <a:pt x="301149" y="236037"/>
                    </a:cubicBezTo>
                    <a:cubicBezTo>
                      <a:pt x="296445" y="167109"/>
                      <a:pt x="319508" y="157636"/>
                      <a:pt x="333816" y="138035"/>
                    </a:cubicBezTo>
                    <a:cubicBezTo>
                      <a:pt x="349366" y="116148"/>
                      <a:pt x="291610" y="60091"/>
                      <a:pt x="309316" y="40033"/>
                    </a:cubicBezTo>
                    <a:cubicBezTo>
                      <a:pt x="309316" y="40033"/>
                      <a:pt x="171133" y="-71951"/>
                      <a:pt x="-567" y="77797"/>
                    </a:cubicBezTo>
                    <a:cubicBezTo>
                      <a:pt x="-44" y="76490"/>
                      <a:pt x="63788" y="109157"/>
                      <a:pt x="26678" y="310062"/>
                    </a:cubicBezTo>
                    <a:close/>
                  </a:path>
                </a:pathLst>
              </a:custGeom>
              <a:solidFill>
                <a:srgbClr val="FCB9AE"/>
              </a:solidFill>
              <a:ln w="6531" cap="flat">
                <a:noFill/>
                <a:prstDash val="solid"/>
                <a:miter/>
              </a:ln>
            </p:spPr>
            <p:txBody>
              <a:bodyPr rtlCol="0" anchor="ctr"/>
              <a:lstStyle/>
              <a:p>
                <a:endParaRPr lang="zh-CN" altLang="en-US"/>
              </a:p>
            </p:txBody>
          </p:sp>
          <p:sp>
            <p:nvSpPr>
              <p:cNvPr id="44" name="íṣḻïdè">
                <a:extLst>
                  <a:ext uri="{FF2B5EF4-FFF2-40B4-BE49-F238E27FC236}">
                    <a16:creationId xmlns:a16="http://schemas.microsoft.com/office/drawing/2014/main" id="{3660ADCA-43A5-0E4C-F0CD-B15F7DBD885C}"/>
                  </a:ext>
                </a:extLst>
              </p:cNvPr>
              <p:cNvSpPr/>
              <p:nvPr/>
            </p:nvSpPr>
            <p:spPr>
              <a:xfrm>
                <a:off x="4899511" y="4609513"/>
                <a:ext cx="1944319" cy="887040"/>
              </a:xfrm>
              <a:custGeom>
                <a:avLst/>
                <a:gdLst>
                  <a:gd name="connsiteX0" fmla="*/ 35773 w 1944319"/>
                  <a:gd name="connsiteY0" fmla="*/ 675852 h 887040"/>
                  <a:gd name="connsiteX1" fmla="*/ 840044 w 1944319"/>
                  <a:gd name="connsiteY1" fmla="*/ 886426 h 887040"/>
                  <a:gd name="connsiteX2" fmla="*/ 1865799 w 1944319"/>
                  <a:gd name="connsiteY2" fmla="*/ 465343 h 887040"/>
                  <a:gd name="connsiteX3" fmla="*/ 1850772 w 1944319"/>
                  <a:gd name="connsiteY3" fmla="*/ 42301 h 887040"/>
                  <a:gd name="connsiteX4" fmla="*/ 1804319 w 1944319"/>
                  <a:gd name="connsiteY4" fmla="*/ 12312 h 887040"/>
                  <a:gd name="connsiteX5" fmla="*/ 900870 w 1944319"/>
                  <a:gd name="connsiteY5" fmla="*/ 149515 h 887040"/>
                  <a:gd name="connsiteX6" fmla="*/ 834359 w 1944319"/>
                  <a:gd name="connsiteY6" fmla="*/ 121160 h 887040"/>
                  <a:gd name="connsiteX7" fmla="*/ 629600 w 1944319"/>
                  <a:gd name="connsiteY7" fmla="*/ 203808 h 887040"/>
                  <a:gd name="connsiteX8" fmla="*/ 205382 w 1944319"/>
                  <a:gd name="connsiteY8" fmla="*/ 213935 h 887040"/>
                  <a:gd name="connsiteX9" fmla="*/ 164221 w 1944319"/>
                  <a:gd name="connsiteY9" fmla="*/ 243728 h 887040"/>
                  <a:gd name="connsiteX10" fmla="*/ 35773 w 1944319"/>
                  <a:gd name="connsiteY10" fmla="*/ 675852 h 887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44319" h="887040">
                    <a:moveTo>
                      <a:pt x="35773" y="675852"/>
                    </a:moveTo>
                    <a:cubicBezTo>
                      <a:pt x="126719" y="823247"/>
                      <a:pt x="588178" y="893025"/>
                      <a:pt x="840044" y="886426"/>
                    </a:cubicBezTo>
                    <a:cubicBezTo>
                      <a:pt x="1091909" y="879827"/>
                      <a:pt x="1816733" y="538192"/>
                      <a:pt x="1865799" y="465343"/>
                    </a:cubicBezTo>
                    <a:cubicBezTo>
                      <a:pt x="1911533" y="398375"/>
                      <a:pt x="2023256" y="176368"/>
                      <a:pt x="1850772" y="42301"/>
                    </a:cubicBezTo>
                    <a:cubicBezTo>
                      <a:pt x="1836137" y="31050"/>
                      <a:pt x="1820587" y="21021"/>
                      <a:pt x="1804319" y="12312"/>
                    </a:cubicBezTo>
                    <a:cubicBezTo>
                      <a:pt x="1686194" y="-51454"/>
                      <a:pt x="900870" y="149515"/>
                      <a:pt x="900870" y="149515"/>
                    </a:cubicBezTo>
                    <a:cubicBezTo>
                      <a:pt x="900870" y="149515"/>
                      <a:pt x="852196" y="118873"/>
                      <a:pt x="834359" y="121160"/>
                    </a:cubicBezTo>
                    <a:cubicBezTo>
                      <a:pt x="779544" y="128085"/>
                      <a:pt x="740277" y="172317"/>
                      <a:pt x="629600" y="203808"/>
                    </a:cubicBezTo>
                    <a:cubicBezTo>
                      <a:pt x="552114" y="225891"/>
                      <a:pt x="340494" y="140956"/>
                      <a:pt x="205382" y="213935"/>
                    </a:cubicBezTo>
                    <a:cubicBezTo>
                      <a:pt x="190368" y="221945"/>
                      <a:pt x="176524" y="231967"/>
                      <a:pt x="164221" y="243728"/>
                    </a:cubicBezTo>
                    <a:cubicBezTo>
                      <a:pt x="38060" y="364074"/>
                      <a:pt x="-55042" y="528130"/>
                      <a:pt x="35773" y="675852"/>
                    </a:cubicBezTo>
                    <a:close/>
                  </a:path>
                </a:pathLst>
              </a:custGeom>
              <a:solidFill>
                <a:srgbClr val="557FF6"/>
              </a:solidFill>
              <a:ln w="6531" cap="flat">
                <a:noFill/>
                <a:prstDash val="solid"/>
                <a:miter/>
              </a:ln>
            </p:spPr>
            <p:txBody>
              <a:bodyPr rtlCol="0" anchor="ctr"/>
              <a:lstStyle/>
              <a:p>
                <a:endParaRPr lang="zh-CN" altLang="en-US"/>
              </a:p>
            </p:txBody>
          </p:sp>
          <p:sp>
            <p:nvSpPr>
              <p:cNvPr id="45" name="î$ḷîďe">
                <a:extLst>
                  <a:ext uri="{FF2B5EF4-FFF2-40B4-BE49-F238E27FC236}">
                    <a16:creationId xmlns:a16="http://schemas.microsoft.com/office/drawing/2014/main" id="{15FB2BED-271F-DA23-259A-1E10AA6A4A02}"/>
                  </a:ext>
                </a:extLst>
              </p:cNvPr>
              <p:cNvSpPr/>
              <p:nvPr/>
            </p:nvSpPr>
            <p:spPr>
              <a:xfrm>
                <a:off x="5101082" y="4613977"/>
                <a:ext cx="1648657" cy="573637"/>
              </a:xfrm>
              <a:custGeom>
                <a:avLst/>
                <a:gdLst>
                  <a:gd name="connsiteX0" fmla="*/ -567 w 1648657"/>
                  <a:gd name="connsiteY0" fmla="*/ 212999 h 573637"/>
                  <a:gd name="connsiteX1" fmla="*/ 348321 w 1648657"/>
                  <a:gd name="connsiteY1" fmla="*/ 283038 h 573637"/>
                  <a:gd name="connsiteX2" fmla="*/ 934569 w 1648657"/>
                  <a:gd name="connsiteY2" fmla="*/ 573451 h 573637"/>
                  <a:gd name="connsiteX3" fmla="*/ 906541 w 1648657"/>
                  <a:gd name="connsiteY3" fmla="*/ 498773 h 573637"/>
                  <a:gd name="connsiteX4" fmla="*/ 1071054 w 1648657"/>
                  <a:gd name="connsiteY4" fmla="*/ 427559 h 573637"/>
                  <a:gd name="connsiteX5" fmla="*/ 1648091 w 1648657"/>
                  <a:gd name="connsiteY5" fmla="*/ 42084 h 573637"/>
                  <a:gd name="connsiteX6" fmla="*/ 1601571 w 1648657"/>
                  <a:gd name="connsiteY6" fmla="*/ 12226 h 573637"/>
                  <a:gd name="connsiteX7" fmla="*/ 696294 w 1648657"/>
                  <a:gd name="connsiteY7" fmla="*/ 148775 h 573637"/>
                  <a:gd name="connsiteX8" fmla="*/ 629652 w 1648657"/>
                  <a:gd name="connsiteY8" fmla="*/ 120485 h 573637"/>
                  <a:gd name="connsiteX9" fmla="*/ 424566 w 1648657"/>
                  <a:gd name="connsiteY9" fmla="*/ 202676 h 573637"/>
                  <a:gd name="connsiteX10" fmla="*/ -567 w 1648657"/>
                  <a:gd name="connsiteY10" fmla="*/ 212999 h 573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48657" h="573637">
                    <a:moveTo>
                      <a:pt x="-567" y="212999"/>
                    </a:moveTo>
                    <a:cubicBezTo>
                      <a:pt x="138205" y="203787"/>
                      <a:pt x="261949" y="232600"/>
                      <a:pt x="348321" y="283038"/>
                    </a:cubicBezTo>
                    <a:cubicBezTo>
                      <a:pt x="450766" y="342950"/>
                      <a:pt x="934569" y="573451"/>
                      <a:pt x="934569" y="573451"/>
                    </a:cubicBezTo>
                    <a:cubicBezTo>
                      <a:pt x="933459" y="548689"/>
                      <a:pt x="906541" y="498773"/>
                      <a:pt x="906541" y="498773"/>
                    </a:cubicBezTo>
                    <a:cubicBezTo>
                      <a:pt x="952275" y="458854"/>
                      <a:pt x="1071054" y="427559"/>
                      <a:pt x="1071054" y="427559"/>
                    </a:cubicBezTo>
                    <a:cubicBezTo>
                      <a:pt x="1163241" y="349614"/>
                      <a:pt x="1528397" y="117219"/>
                      <a:pt x="1648091" y="42084"/>
                    </a:cubicBezTo>
                    <a:cubicBezTo>
                      <a:pt x="1633455" y="30859"/>
                      <a:pt x="1617905" y="20876"/>
                      <a:pt x="1601571" y="12226"/>
                    </a:cubicBezTo>
                    <a:cubicBezTo>
                      <a:pt x="1483251" y="-51149"/>
                      <a:pt x="696294" y="148775"/>
                      <a:pt x="696294" y="148775"/>
                    </a:cubicBezTo>
                    <a:cubicBezTo>
                      <a:pt x="696294" y="148775"/>
                      <a:pt x="647554" y="118264"/>
                      <a:pt x="629652" y="120485"/>
                    </a:cubicBezTo>
                    <a:cubicBezTo>
                      <a:pt x="574771" y="127411"/>
                      <a:pt x="535440" y="171381"/>
                      <a:pt x="424566" y="202676"/>
                    </a:cubicBezTo>
                    <a:cubicBezTo>
                      <a:pt x="346492" y="224629"/>
                      <a:pt x="134872" y="140216"/>
                      <a:pt x="-567" y="212999"/>
                    </a:cubicBezTo>
                    <a:close/>
                  </a:path>
                </a:pathLst>
              </a:custGeom>
              <a:solidFill>
                <a:srgbClr val="445FA3"/>
              </a:solidFill>
              <a:ln w="6531" cap="flat">
                <a:noFill/>
                <a:prstDash val="solid"/>
                <a:miter/>
              </a:ln>
            </p:spPr>
            <p:txBody>
              <a:bodyPr rtlCol="0" anchor="ctr"/>
              <a:lstStyle/>
              <a:p>
                <a:endParaRPr lang="zh-CN" altLang="en-US"/>
              </a:p>
            </p:txBody>
          </p:sp>
          <p:sp>
            <p:nvSpPr>
              <p:cNvPr id="46" name="íṥḻiḋé">
                <a:extLst>
                  <a:ext uri="{FF2B5EF4-FFF2-40B4-BE49-F238E27FC236}">
                    <a16:creationId xmlns:a16="http://schemas.microsoft.com/office/drawing/2014/main" id="{656C21C6-9029-460A-B345-10185DC4D52C}"/>
                  </a:ext>
                </a:extLst>
              </p:cNvPr>
              <p:cNvSpPr/>
              <p:nvPr/>
            </p:nvSpPr>
            <p:spPr>
              <a:xfrm>
                <a:off x="5101082" y="4613977"/>
                <a:ext cx="1648657" cy="573637"/>
              </a:xfrm>
              <a:custGeom>
                <a:avLst/>
                <a:gdLst>
                  <a:gd name="connsiteX0" fmla="*/ -567 w 1648657"/>
                  <a:gd name="connsiteY0" fmla="*/ 212999 h 573637"/>
                  <a:gd name="connsiteX1" fmla="*/ 348321 w 1648657"/>
                  <a:gd name="connsiteY1" fmla="*/ 283038 h 573637"/>
                  <a:gd name="connsiteX2" fmla="*/ 934569 w 1648657"/>
                  <a:gd name="connsiteY2" fmla="*/ 573451 h 573637"/>
                  <a:gd name="connsiteX3" fmla="*/ 906541 w 1648657"/>
                  <a:gd name="connsiteY3" fmla="*/ 498773 h 573637"/>
                  <a:gd name="connsiteX4" fmla="*/ 1071054 w 1648657"/>
                  <a:gd name="connsiteY4" fmla="*/ 427559 h 573637"/>
                  <a:gd name="connsiteX5" fmla="*/ 1648091 w 1648657"/>
                  <a:gd name="connsiteY5" fmla="*/ 42084 h 573637"/>
                  <a:gd name="connsiteX6" fmla="*/ 1601571 w 1648657"/>
                  <a:gd name="connsiteY6" fmla="*/ 12226 h 573637"/>
                  <a:gd name="connsiteX7" fmla="*/ 696294 w 1648657"/>
                  <a:gd name="connsiteY7" fmla="*/ 148775 h 573637"/>
                  <a:gd name="connsiteX8" fmla="*/ 629652 w 1648657"/>
                  <a:gd name="connsiteY8" fmla="*/ 120485 h 573637"/>
                  <a:gd name="connsiteX9" fmla="*/ 424566 w 1648657"/>
                  <a:gd name="connsiteY9" fmla="*/ 202676 h 573637"/>
                  <a:gd name="connsiteX10" fmla="*/ -567 w 1648657"/>
                  <a:gd name="connsiteY10" fmla="*/ 212999 h 573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48657" h="573637">
                    <a:moveTo>
                      <a:pt x="-567" y="212999"/>
                    </a:moveTo>
                    <a:cubicBezTo>
                      <a:pt x="138205" y="203787"/>
                      <a:pt x="261949" y="232600"/>
                      <a:pt x="348321" y="283038"/>
                    </a:cubicBezTo>
                    <a:cubicBezTo>
                      <a:pt x="450766" y="342950"/>
                      <a:pt x="934569" y="573451"/>
                      <a:pt x="934569" y="573451"/>
                    </a:cubicBezTo>
                    <a:cubicBezTo>
                      <a:pt x="933459" y="548689"/>
                      <a:pt x="906541" y="498773"/>
                      <a:pt x="906541" y="498773"/>
                    </a:cubicBezTo>
                    <a:cubicBezTo>
                      <a:pt x="952275" y="458854"/>
                      <a:pt x="1071054" y="427559"/>
                      <a:pt x="1071054" y="427559"/>
                    </a:cubicBezTo>
                    <a:cubicBezTo>
                      <a:pt x="1163241" y="349614"/>
                      <a:pt x="1528397" y="117219"/>
                      <a:pt x="1648091" y="42084"/>
                    </a:cubicBezTo>
                    <a:cubicBezTo>
                      <a:pt x="1633455" y="30859"/>
                      <a:pt x="1617905" y="20876"/>
                      <a:pt x="1601571" y="12226"/>
                    </a:cubicBezTo>
                    <a:cubicBezTo>
                      <a:pt x="1483251" y="-51149"/>
                      <a:pt x="696294" y="148775"/>
                      <a:pt x="696294" y="148775"/>
                    </a:cubicBezTo>
                    <a:cubicBezTo>
                      <a:pt x="696294" y="148775"/>
                      <a:pt x="647554" y="118264"/>
                      <a:pt x="629652" y="120485"/>
                    </a:cubicBezTo>
                    <a:cubicBezTo>
                      <a:pt x="574771" y="127411"/>
                      <a:pt x="535440" y="171381"/>
                      <a:pt x="424566" y="202676"/>
                    </a:cubicBezTo>
                    <a:cubicBezTo>
                      <a:pt x="346492" y="224629"/>
                      <a:pt x="134872" y="140216"/>
                      <a:pt x="-567" y="212999"/>
                    </a:cubicBezTo>
                    <a:close/>
                  </a:path>
                </a:pathLst>
              </a:custGeom>
              <a:noFill/>
              <a:ln w="1633" cap="flat">
                <a:solidFill>
                  <a:srgbClr val="000000"/>
                </a:solidFill>
                <a:prstDash val="solid"/>
                <a:miter/>
              </a:ln>
            </p:spPr>
            <p:txBody>
              <a:bodyPr rtlCol="0" anchor="ctr"/>
              <a:lstStyle/>
              <a:p>
                <a:endParaRPr lang="zh-CN" altLang="en-US"/>
              </a:p>
            </p:txBody>
          </p:sp>
          <p:sp>
            <p:nvSpPr>
              <p:cNvPr id="47" name="ïṣliḓè">
                <a:extLst>
                  <a:ext uri="{FF2B5EF4-FFF2-40B4-BE49-F238E27FC236}">
                    <a16:creationId xmlns:a16="http://schemas.microsoft.com/office/drawing/2014/main" id="{0C2D67FA-0B73-FC0B-0793-3BE8D1BD01AD}"/>
                  </a:ext>
                </a:extLst>
              </p:cNvPr>
              <p:cNvSpPr/>
              <p:nvPr/>
            </p:nvSpPr>
            <p:spPr>
              <a:xfrm>
                <a:off x="4895005" y="4613976"/>
                <a:ext cx="1944369" cy="887077"/>
              </a:xfrm>
              <a:custGeom>
                <a:avLst/>
                <a:gdLst>
                  <a:gd name="connsiteX0" fmla="*/ 35771 w 1944369"/>
                  <a:gd name="connsiteY0" fmla="*/ 675897 h 887077"/>
                  <a:gd name="connsiteX1" fmla="*/ 840107 w 1944369"/>
                  <a:gd name="connsiteY1" fmla="*/ 886471 h 887077"/>
                  <a:gd name="connsiteX2" fmla="*/ 1865863 w 1944369"/>
                  <a:gd name="connsiteY2" fmla="*/ 465323 h 887077"/>
                  <a:gd name="connsiteX3" fmla="*/ 1850771 w 1944369"/>
                  <a:gd name="connsiteY3" fmla="*/ 42346 h 887077"/>
                  <a:gd name="connsiteX4" fmla="*/ 1804318 w 1944369"/>
                  <a:gd name="connsiteY4" fmla="*/ 12292 h 887077"/>
                  <a:gd name="connsiteX5" fmla="*/ 900869 w 1944369"/>
                  <a:gd name="connsiteY5" fmla="*/ 149495 h 887077"/>
                  <a:gd name="connsiteX6" fmla="*/ 834358 w 1944369"/>
                  <a:gd name="connsiteY6" fmla="*/ 121074 h 887077"/>
                  <a:gd name="connsiteX7" fmla="*/ 629664 w 1944369"/>
                  <a:gd name="connsiteY7" fmla="*/ 203723 h 887077"/>
                  <a:gd name="connsiteX8" fmla="*/ 205381 w 1944369"/>
                  <a:gd name="connsiteY8" fmla="*/ 213915 h 887077"/>
                  <a:gd name="connsiteX9" fmla="*/ 164285 w 1944369"/>
                  <a:gd name="connsiteY9" fmla="*/ 243642 h 887077"/>
                  <a:gd name="connsiteX10" fmla="*/ 35771 w 1944369"/>
                  <a:gd name="connsiteY10" fmla="*/ 675897 h 887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44369" h="887077">
                    <a:moveTo>
                      <a:pt x="35771" y="675897"/>
                    </a:moveTo>
                    <a:cubicBezTo>
                      <a:pt x="126717" y="823227"/>
                      <a:pt x="587915" y="893004"/>
                      <a:pt x="840107" y="886471"/>
                    </a:cubicBezTo>
                    <a:cubicBezTo>
                      <a:pt x="1092300" y="879937"/>
                      <a:pt x="1816731" y="538171"/>
                      <a:pt x="1865863" y="465323"/>
                    </a:cubicBezTo>
                    <a:cubicBezTo>
                      <a:pt x="1911597" y="398355"/>
                      <a:pt x="2023319" y="176413"/>
                      <a:pt x="1850771" y="42346"/>
                    </a:cubicBezTo>
                    <a:cubicBezTo>
                      <a:pt x="1836136" y="31063"/>
                      <a:pt x="1820586" y="21008"/>
                      <a:pt x="1804318" y="12292"/>
                    </a:cubicBezTo>
                    <a:cubicBezTo>
                      <a:pt x="1686258" y="-51409"/>
                      <a:pt x="900869" y="149495"/>
                      <a:pt x="900869" y="149495"/>
                    </a:cubicBezTo>
                    <a:cubicBezTo>
                      <a:pt x="900869" y="149495"/>
                      <a:pt x="852260" y="118788"/>
                      <a:pt x="834358" y="121074"/>
                    </a:cubicBezTo>
                    <a:cubicBezTo>
                      <a:pt x="779542" y="128065"/>
                      <a:pt x="740341" y="172231"/>
                      <a:pt x="629664" y="203723"/>
                    </a:cubicBezTo>
                    <a:cubicBezTo>
                      <a:pt x="552112" y="225871"/>
                      <a:pt x="340558" y="140936"/>
                      <a:pt x="205381" y="213915"/>
                    </a:cubicBezTo>
                    <a:cubicBezTo>
                      <a:pt x="190399" y="221918"/>
                      <a:pt x="176575" y="231921"/>
                      <a:pt x="164285" y="243642"/>
                    </a:cubicBezTo>
                    <a:cubicBezTo>
                      <a:pt x="38058" y="364054"/>
                      <a:pt x="-55044" y="528175"/>
                      <a:pt x="35771" y="675897"/>
                    </a:cubicBezTo>
                    <a:close/>
                  </a:path>
                </a:pathLst>
              </a:custGeom>
              <a:noFill/>
              <a:ln w="1633" cap="rnd">
                <a:solidFill>
                  <a:srgbClr val="263238"/>
                </a:solidFill>
                <a:prstDash val="solid"/>
                <a:round/>
              </a:ln>
            </p:spPr>
            <p:txBody>
              <a:bodyPr rtlCol="0" anchor="ctr"/>
              <a:lstStyle/>
              <a:p>
                <a:endParaRPr lang="zh-CN" altLang="en-US"/>
              </a:p>
            </p:txBody>
          </p:sp>
          <p:sp>
            <p:nvSpPr>
              <p:cNvPr id="48" name="ïṥlïde">
                <a:extLst>
                  <a:ext uri="{FF2B5EF4-FFF2-40B4-BE49-F238E27FC236}">
                    <a16:creationId xmlns:a16="http://schemas.microsoft.com/office/drawing/2014/main" id="{71F8AA60-FFF1-4F35-3192-4F1811084904}"/>
                  </a:ext>
                </a:extLst>
              </p:cNvPr>
              <p:cNvSpPr/>
              <p:nvPr/>
            </p:nvSpPr>
            <p:spPr>
              <a:xfrm>
                <a:off x="5065345" y="5420403"/>
                <a:ext cx="564492" cy="206092"/>
              </a:xfrm>
              <a:custGeom>
                <a:avLst/>
                <a:gdLst>
                  <a:gd name="connsiteX0" fmla="*/ 10867 w 564492"/>
                  <a:gd name="connsiteY0" fmla="*/ -187 h 206092"/>
                  <a:gd name="connsiteX1" fmla="*/ -567 w 564492"/>
                  <a:gd name="connsiteY1" fmla="*/ 51362 h 206092"/>
                  <a:gd name="connsiteX2" fmla="*/ 165776 w 564492"/>
                  <a:gd name="connsiteY2" fmla="*/ 155114 h 206092"/>
                  <a:gd name="connsiteX3" fmla="*/ 447368 w 564492"/>
                  <a:gd name="connsiteY3" fmla="*/ 204180 h 206092"/>
                  <a:gd name="connsiteX4" fmla="*/ 550467 w 564492"/>
                  <a:gd name="connsiteY4" fmla="*/ 202547 h 206092"/>
                  <a:gd name="connsiteX5" fmla="*/ 563926 w 564492"/>
                  <a:gd name="connsiteY5" fmla="*/ 182293 h 206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4492" h="206092">
                    <a:moveTo>
                      <a:pt x="10867" y="-187"/>
                    </a:moveTo>
                    <a:lnTo>
                      <a:pt x="-567" y="51362"/>
                    </a:lnTo>
                    <a:cubicBezTo>
                      <a:pt x="-567" y="51362"/>
                      <a:pt x="30271" y="140479"/>
                      <a:pt x="165776" y="155114"/>
                    </a:cubicBezTo>
                    <a:cubicBezTo>
                      <a:pt x="301280" y="169749"/>
                      <a:pt x="381380" y="200195"/>
                      <a:pt x="447368" y="204180"/>
                    </a:cubicBezTo>
                    <a:cubicBezTo>
                      <a:pt x="481708" y="206937"/>
                      <a:pt x="516231" y="206389"/>
                      <a:pt x="550467" y="202547"/>
                    </a:cubicBezTo>
                    <a:lnTo>
                      <a:pt x="563926" y="182293"/>
                    </a:lnTo>
                    <a:close/>
                  </a:path>
                </a:pathLst>
              </a:custGeom>
              <a:solidFill>
                <a:srgbClr val="FFFFFF"/>
              </a:solidFill>
              <a:ln w="6531" cap="flat">
                <a:noFill/>
                <a:prstDash val="solid"/>
                <a:miter/>
              </a:ln>
            </p:spPr>
            <p:txBody>
              <a:bodyPr rtlCol="0" anchor="ctr"/>
              <a:lstStyle/>
              <a:p>
                <a:endParaRPr lang="zh-CN" altLang="en-US"/>
              </a:p>
            </p:txBody>
          </p:sp>
          <p:sp>
            <p:nvSpPr>
              <p:cNvPr id="49" name="ïṣḷíḓé">
                <a:extLst>
                  <a:ext uri="{FF2B5EF4-FFF2-40B4-BE49-F238E27FC236}">
                    <a16:creationId xmlns:a16="http://schemas.microsoft.com/office/drawing/2014/main" id="{598F9B11-0652-BC94-B81E-6E1891E99DBF}"/>
                  </a:ext>
                </a:extLst>
              </p:cNvPr>
              <p:cNvSpPr/>
              <p:nvPr/>
            </p:nvSpPr>
            <p:spPr>
              <a:xfrm>
                <a:off x="5065345" y="5420403"/>
                <a:ext cx="564492" cy="206092"/>
              </a:xfrm>
              <a:custGeom>
                <a:avLst/>
                <a:gdLst>
                  <a:gd name="connsiteX0" fmla="*/ 10867 w 564492"/>
                  <a:gd name="connsiteY0" fmla="*/ -187 h 206092"/>
                  <a:gd name="connsiteX1" fmla="*/ -567 w 564492"/>
                  <a:gd name="connsiteY1" fmla="*/ 51362 h 206092"/>
                  <a:gd name="connsiteX2" fmla="*/ 165776 w 564492"/>
                  <a:gd name="connsiteY2" fmla="*/ 155114 h 206092"/>
                  <a:gd name="connsiteX3" fmla="*/ 447368 w 564492"/>
                  <a:gd name="connsiteY3" fmla="*/ 204180 h 206092"/>
                  <a:gd name="connsiteX4" fmla="*/ 550467 w 564492"/>
                  <a:gd name="connsiteY4" fmla="*/ 202547 h 206092"/>
                  <a:gd name="connsiteX5" fmla="*/ 563926 w 564492"/>
                  <a:gd name="connsiteY5" fmla="*/ 182293 h 206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4492" h="206092">
                    <a:moveTo>
                      <a:pt x="10867" y="-187"/>
                    </a:moveTo>
                    <a:lnTo>
                      <a:pt x="-567" y="51362"/>
                    </a:lnTo>
                    <a:cubicBezTo>
                      <a:pt x="-567" y="51362"/>
                      <a:pt x="30271" y="140479"/>
                      <a:pt x="165776" y="155114"/>
                    </a:cubicBezTo>
                    <a:cubicBezTo>
                      <a:pt x="301280" y="169749"/>
                      <a:pt x="381380" y="200195"/>
                      <a:pt x="447368" y="204180"/>
                    </a:cubicBezTo>
                    <a:cubicBezTo>
                      <a:pt x="481708" y="206937"/>
                      <a:pt x="516231" y="206389"/>
                      <a:pt x="550467" y="202547"/>
                    </a:cubicBezTo>
                    <a:lnTo>
                      <a:pt x="563926" y="182293"/>
                    </a:lnTo>
                    <a:close/>
                  </a:path>
                </a:pathLst>
              </a:custGeom>
              <a:noFill/>
              <a:ln w="1633" cap="rnd">
                <a:solidFill>
                  <a:srgbClr val="263238"/>
                </a:solidFill>
                <a:prstDash val="solid"/>
                <a:round/>
              </a:ln>
            </p:spPr>
            <p:txBody>
              <a:bodyPr rtlCol="0" anchor="ctr"/>
              <a:lstStyle/>
              <a:p>
                <a:endParaRPr lang="zh-CN" altLang="en-US"/>
              </a:p>
            </p:txBody>
          </p:sp>
          <p:sp>
            <p:nvSpPr>
              <p:cNvPr id="50" name="işlïďé">
                <a:extLst>
                  <a:ext uri="{FF2B5EF4-FFF2-40B4-BE49-F238E27FC236}">
                    <a16:creationId xmlns:a16="http://schemas.microsoft.com/office/drawing/2014/main" id="{D09A7200-C3DD-FCB8-31D2-5B31DCD7CED2}"/>
                  </a:ext>
                </a:extLst>
              </p:cNvPr>
              <p:cNvSpPr/>
              <p:nvPr/>
            </p:nvSpPr>
            <p:spPr>
              <a:xfrm>
                <a:off x="5074390" y="5277058"/>
                <a:ext cx="788038" cy="331508"/>
              </a:xfrm>
              <a:custGeom>
                <a:avLst/>
                <a:gdLst>
                  <a:gd name="connsiteX0" fmla="*/ 787471 w 788038"/>
                  <a:gd name="connsiteY0" fmla="*/ 143027 h 331508"/>
                  <a:gd name="connsiteX1" fmla="*/ 552266 w 788038"/>
                  <a:gd name="connsiteY1" fmla="*/ 331321 h 331508"/>
                  <a:gd name="connsiteX2" fmla="*/ 214420 w 788038"/>
                  <a:gd name="connsiteY2" fmla="*/ 279838 h 331508"/>
                  <a:gd name="connsiteX3" fmla="*/ -8 w 788038"/>
                  <a:gd name="connsiteY3" fmla="*/ 164130 h 331508"/>
                  <a:gd name="connsiteX4" fmla="*/ 172475 w 788038"/>
                  <a:gd name="connsiteY4" fmla="*/ 67043 h 331508"/>
                  <a:gd name="connsiteX5" fmla="*/ 228533 w 788038"/>
                  <a:gd name="connsiteY5" fmla="*/ 70897 h 331508"/>
                  <a:gd name="connsiteX6" fmla="*/ 585130 w 788038"/>
                  <a:gd name="connsiteY6" fmla="*/ -187 h 331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8038" h="331508">
                    <a:moveTo>
                      <a:pt x="787471" y="143027"/>
                    </a:moveTo>
                    <a:lnTo>
                      <a:pt x="552266" y="331321"/>
                    </a:lnTo>
                    <a:cubicBezTo>
                      <a:pt x="438662" y="321456"/>
                      <a:pt x="325809" y="304253"/>
                      <a:pt x="214420" y="279838"/>
                    </a:cubicBezTo>
                    <a:cubicBezTo>
                      <a:pt x="102763" y="253704"/>
                      <a:pt x="5349" y="215875"/>
                      <a:pt x="-8" y="164130"/>
                    </a:cubicBezTo>
                    <a:cubicBezTo>
                      <a:pt x="-8175" y="85728"/>
                      <a:pt x="74408" y="64037"/>
                      <a:pt x="172475" y="67043"/>
                    </a:cubicBezTo>
                    <a:cubicBezTo>
                      <a:pt x="191213" y="67376"/>
                      <a:pt x="209925" y="68663"/>
                      <a:pt x="228533" y="70897"/>
                    </a:cubicBezTo>
                    <a:cubicBezTo>
                      <a:pt x="385336" y="88015"/>
                      <a:pt x="585130" y="-187"/>
                      <a:pt x="585130" y="-187"/>
                    </a:cubicBezTo>
                    <a:close/>
                  </a:path>
                </a:pathLst>
              </a:custGeom>
              <a:solidFill>
                <a:srgbClr val="263238"/>
              </a:solidFill>
              <a:ln w="6531" cap="flat">
                <a:noFill/>
                <a:prstDash val="solid"/>
                <a:miter/>
              </a:ln>
            </p:spPr>
            <p:txBody>
              <a:bodyPr rtlCol="0" anchor="ctr"/>
              <a:lstStyle/>
              <a:p>
                <a:endParaRPr lang="zh-CN" altLang="en-US"/>
              </a:p>
            </p:txBody>
          </p:sp>
          <p:sp>
            <p:nvSpPr>
              <p:cNvPr id="51" name="íşļïḍè">
                <a:extLst>
                  <a:ext uri="{FF2B5EF4-FFF2-40B4-BE49-F238E27FC236}">
                    <a16:creationId xmlns:a16="http://schemas.microsoft.com/office/drawing/2014/main" id="{9DE2E671-9E8D-6356-4CE9-F60007B1A608}"/>
                  </a:ext>
                </a:extLst>
              </p:cNvPr>
              <p:cNvSpPr/>
              <p:nvPr/>
            </p:nvSpPr>
            <p:spPr>
              <a:xfrm>
                <a:off x="5074390" y="5277058"/>
                <a:ext cx="788038" cy="331508"/>
              </a:xfrm>
              <a:custGeom>
                <a:avLst/>
                <a:gdLst>
                  <a:gd name="connsiteX0" fmla="*/ 787471 w 788038"/>
                  <a:gd name="connsiteY0" fmla="*/ 143027 h 331508"/>
                  <a:gd name="connsiteX1" fmla="*/ 552266 w 788038"/>
                  <a:gd name="connsiteY1" fmla="*/ 331321 h 331508"/>
                  <a:gd name="connsiteX2" fmla="*/ 214420 w 788038"/>
                  <a:gd name="connsiteY2" fmla="*/ 279838 h 331508"/>
                  <a:gd name="connsiteX3" fmla="*/ -8 w 788038"/>
                  <a:gd name="connsiteY3" fmla="*/ 164130 h 331508"/>
                  <a:gd name="connsiteX4" fmla="*/ 172475 w 788038"/>
                  <a:gd name="connsiteY4" fmla="*/ 67043 h 331508"/>
                  <a:gd name="connsiteX5" fmla="*/ 228533 w 788038"/>
                  <a:gd name="connsiteY5" fmla="*/ 70897 h 331508"/>
                  <a:gd name="connsiteX6" fmla="*/ 585130 w 788038"/>
                  <a:gd name="connsiteY6" fmla="*/ -187 h 331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8038" h="331508">
                    <a:moveTo>
                      <a:pt x="787471" y="143027"/>
                    </a:moveTo>
                    <a:lnTo>
                      <a:pt x="552266" y="331321"/>
                    </a:lnTo>
                    <a:cubicBezTo>
                      <a:pt x="438662" y="321456"/>
                      <a:pt x="325809" y="304253"/>
                      <a:pt x="214420" y="279838"/>
                    </a:cubicBezTo>
                    <a:cubicBezTo>
                      <a:pt x="102763" y="253704"/>
                      <a:pt x="5349" y="215875"/>
                      <a:pt x="-8" y="164130"/>
                    </a:cubicBezTo>
                    <a:cubicBezTo>
                      <a:pt x="-8175" y="85728"/>
                      <a:pt x="74408" y="64037"/>
                      <a:pt x="172475" y="67043"/>
                    </a:cubicBezTo>
                    <a:cubicBezTo>
                      <a:pt x="191213" y="67376"/>
                      <a:pt x="209925" y="68663"/>
                      <a:pt x="228533" y="70897"/>
                    </a:cubicBezTo>
                    <a:cubicBezTo>
                      <a:pt x="385336" y="88015"/>
                      <a:pt x="585130" y="-187"/>
                      <a:pt x="585130" y="-187"/>
                    </a:cubicBezTo>
                    <a:close/>
                  </a:path>
                </a:pathLst>
              </a:custGeom>
              <a:noFill/>
              <a:ln w="1633" cap="flat">
                <a:solidFill>
                  <a:srgbClr val="000000"/>
                </a:solidFill>
                <a:prstDash val="solid"/>
                <a:miter/>
              </a:ln>
            </p:spPr>
            <p:txBody>
              <a:bodyPr rtlCol="0" anchor="ctr"/>
              <a:lstStyle/>
              <a:p>
                <a:endParaRPr lang="zh-CN" altLang="en-US"/>
              </a:p>
            </p:txBody>
          </p:sp>
          <p:sp>
            <p:nvSpPr>
              <p:cNvPr id="52" name="îşḷïḑé">
                <a:extLst>
                  <a:ext uri="{FF2B5EF4-FFF2-40B4-BE49-F238E27FC236}">
                    <a16:creationId xmlns:a16="http://schemas.microsoft.com/office/drawing/2014/main" id="{657A29F3-2719-F091-101C-7E7F0A7179A9}"/>
                  </a:ext>
                </a:extLst>
              </p:cNvPr>
              <p:cNvSpPr/>
              <p:nvPr/>
            </p:nvSpPr>
            <p:spPr>
              <a:xfrm>
                <a:off x="5078678" y="5272158"/>
                <a:ext cx="788258" cy="277787"/>
              </a:xfrm>
              <a:custGeom>
                <a:avLst/>
                <a:gdLst>
                  <a:gd name="connsiteX0" fmla="*/ -180 w 788258"/>
                  <a:gd name="connsiteY0" fmla="*/ 162431 h 277787"/>
                  <a:gd name="connsiteX1" fmla="*/ 130490 w 788258"/>
                  <a:gd name="connsiteY1" fmla="*/ 227766 h 277787"/>
                  <a:gd name="connsiteX2" fmla="*/ 685835 w 788258"/>
                  <a:gd name="connsiteY2" fmla="*/ 224303 h 277787"/>
                  <a:gd name="connsiteX3" fmla="*/ 787692 w 788258"/>
                  <a:gd name="connsiteY3" fmla="*/ 142962 h 277787"/>
                  <a:gd name="connsiteX4" fmla="*/ 584828 w 788258"/>
                  <a:gd name="connsiteY4" fmla="*/ -187 h 277787"/>
                  <a:gd name="connsiteX5" fmla="*/ 228492 w 788258"/>
                  <a:gd name="connsiteY5" fmla="*/ 70963 h 277787"/>
                  <a:gd name="connsiteX6" fmla="*/ 172435 w 788258"/>
                  <a:gd name="connsiteY6" fmla="*/ 67173 h 277787"/>
                  <a:gd name="connsiteX7" fmla="*/ -180 w 788258"/>
                  <a:gd name="connsiteY7" fmla="*/ 162431 h 277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8258" h="277787">
                    <a:moveTo>
                      <a:pt x="-180" y="162431"/>
                    </a:moveTo>
                    <a:cubicBezTo>
                      <a:pt x="45490" y="179699"/>
                      <a:pt x="89277" y="201586"/>
                      <a:pt x="130490" y="227766"/>
                    </a:cubicBezTo>
                    <a:cubicBezTo>
                      <a:pt x="130490" y="227766"/>
                      <a:pt x="349361" y="342167"/>
                      <a:pt x="685835" y="224303"/>
                    </a:cubicBezTo>
                    <a:lnTo>
                      <a:pt x="787692" y="142962"/>
                    </a:lnTo>
                    <a:lnTo>
                      <a:pt x="584828" y="-187"/>
                    </a:lnTo>
                    <a:cubicBezTo>
                      <a:pt x="584828" y="-187"/>
                      <a:pt x="385622" y="88407"/>
                      <a:pt x="228492" y="70963"/>
                    </a:cubicBezTo>
                    <a:cubicBezTo>
                      <a:pt x="209545" y="68937"/>
                      <a:pt x="190729" y="67565"/>
                      <a:pt x="172435" y="67173"/>
                    </a:cubicBezTo>
                    <a:cubicBezTo>
                      <a:pt x="75021" y="64429"/>
                      <a:pt x="-6909" y="85402"/>
                      <a:pt x="-180" y="162431"/>
                    </a:cubicBezTo>
                    <a:close/>
                  </a:path>
                </a:pathLst>
              </a:custGeom>
              <a:solidFill>
                <a:srgbClr val="000000">
                  <a:alpha val="70000"/>
                </a:srgbClr>
              </a:solidFill>
              <a:ln w="6531" cap="flat">
                <a:noFill/>
                <a:prstDash val="solid"/>
                <a:miter/>
              </a:ln>
            </p:spPr>
            <p:txBody>
              <a:bodyPr rtlCol="0" anchor="ctr"/>
              <a:lstStyle/>
              <a:p>
                <a:endParaRPr lang="zh-CN" altLang="en-US"/>
              </a:p>
            </p:txBody>
          </p:sp>
          <p:sp>
            <p:nvSpPr>
              <p:cNvPr id="53" name="ï$ḻîďé">
                <a:extLst>
                  <a:ext uri="{FF2B5EF4-FFF2-40B4-BE49-F238E27FC236}">
                    <a16:creationId xmlns:a16="http://schemas.microsoft.com/office/drawing/2014/main" id="{2A32097C-70C3-0723-F24C-81B51037477E}"/>
                  </a:ext>
                </a:extLst>
              </p:cNvPr>
              <p:cNvSpPr/>
              <p:nvPr/>
            </p:nvSpPr>
            <p:spPr>
              <a:xfrm>
                <a:off x="5074390" y="5277058"/>
                <a:ext cx="788038" cy="331508"/>
              </a:xfrm>
              <a:custGeom>
                <a:avLst/>
                <a:gdLst>
                  <a:gd name="connsiteX0" fmla="*/ 787471 w 788038"/>
                  <a:gd name="connsiteY0" fmla="*/ 143027 h 331508"/>
                  <a:gd name="connsiteX1" fmla="*/ 552266 w 788038"/>
                  <a:gd name="connsiteY1" fmla="*/ 331321 h 331508"/>
                  <a:gd name="connsiteX2" fmla="*/ 214420 w 788038"/>
                  <a:gd name="connsiteY2" fmla="*/ 279838 h 331508"/>
                  <a:gd name="connsiteX3" fmla="*/ -8 w 788038"/>
                  <a:gd name="connsiteY3" fmla="*/ 164130 h 331508"/>
                  <a:gd name="connsiteX4" fmla="*/ 172475 w 788038"/>
                  <a:gd name="connsiteY4" fmla="*/ 67043 h 331508"/>
                  <a:gd name="connsiteX5" fmla="*/ 228533 w 788038"/>
                  <a:gd name="connsiteY5" fmla="*/ 70897 h 331508"/>
                  <a:gd name="connsiteX6" fmla="*/ 585130 w 788038"/>
                  <a:gd name="connsiteY6" fmla="*/ -187 h 331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8038" h="331508">
                    <a:moveTo>
                      <a:pt x="787471" y="143027"/>
                    </a:moveTo>
                    <a:lnTo>
                      <a:pt x="552266" y="331321"/>
                    </a:lnTo>
                    <a:cubicBezTo>
                      <a:pt x="438662" y="321456"/>
                      <a:pt x="325809" y="304253"/>
                      <a:pt x="214420" y="279838"/>
                    </a:cubicBezTo>
                    <a:cubicBezTo>
                      <a:pt x="102763" y="253704"/>
                      <a:pt x="5349" y="215875"/>
                      <a:pt x="-8" y="164130"/>
                    </a:cubicBezTo>
                    <a:cubicBezTo>
                      <a:pt x="-8175" y="85728"/>
                      <a:pt x="74408" y="64037"/>
                      <a:pt x="172475" y="67043"/>
                    </a:cubicBezTo>
                    <a:cubicBezTo>
                      <a:pt x="191213" y="67376"/>
                      <a:pt x="209925" y="68663"/>
                      <a:pt x="228533" y="70897"/>
                    </a:cubicBezTo>
                    <a:cubicBezTo>
                      <a:pt x="385336" y="88015"/>
                      <a:pt x="585130" y="-187"/>
                      <a:pt x="585130" y="-187"/>
                    </a:cubicBezTo>
                    <a:close/>
                  </a:path>
                </a:pathLst>
              </a:custGeom>
              <a:noFill/>
              <a:ln w="1633" cap="rnd">
                <a:solidFill>
                  <a:srgbClr val="263238"/>
                </a:solidFill>
                <a:prstDash val="solid"/>
                <a:round/>
              </a:ln>
            </p:spPr>
            <p:txBody>
              <a:bodyPr rtlCol="0" anchor="ctr"/>
              <a:lstStyle/>
              <a:p>
                <a:endParaRPr lang="zh-CN" altLang="en-US"/>
              </a:p>
            </p:txBody>
          </p:sp>
          <p:sp>
            <p:nvSpPr>
              <p:cNvPr id="54" name="iŝ1îḓè">
                <a:extLst>
                  <a:ext uri="{FF2B5EF4-FFF2-40B4-BE49-F238E27FC236}">
                    <a16:creationId xmlns:a16="http://schemas.microsoft.com/office/drawing/2014/main" id="{060E2B7A-CC43-920A-BB05-75273C6F4902}"/>
                  </a:ext>
                </a:extLst>
              </p:cNvPr>
              <p:cNvSpPr/>
              <p:nvPr/>
            </p:nvSpPr>
            <p:spPr>
              <a:xfrm>
                <a:off x="5558099" y="5492110"/>
                <a:ext cx="98585" cy="71635"/>
              </a:xfrm>
              <a:custGeom>
                <a:avLst/>
                <a:gdLst>
                  <a:gd name="connsiteX0" fmla="*/ 81624 w 98585"/>
                  <a:gd name="connsiteY0" fmla="*/ 497 h 71635"/>
                  <a:gd name="connsiteX1" fmla="*/ 20014 w 98585"/>
                  <a:gd name="connsiteY1" fmla="*/ 66419 h 71635"/>
                  <a:gd name="connsiteX2" fmla="*/ 81624 w 98585"/>
                  <a:gd name="connsiteY2" fmla="*/ 497 h 71635"/>
                </a:gdLst>
                <a:ahLst/>
                <a:cxnLst>
                  <a:cxn ang="0">
                    <a:pos x="connsiteX0" y="connsiteY0"/>
                  </a:cxn>
                  <a:cxn ang="0">
                    <a:pos x="connsiteX1" y="connsiteY1"/>
                  </a:cxn>
                  <a:cxn ang="0">
                    <a:pos x="connsiteX2" y="connsiteY2"/>
                  </a:cxn>
                </a:cxnLst>
                <a:rect l="l" t="t" r="r" b="b"/>
                <a:pathLst>
                  <a:path w="98585" h="71635">
                    <a:moveTo>
                      <a:pt x="81624" y="497"/>
                    </a:moveTo>
                    <a:cubicBezTo>
                      <a:pt x="123961" y="7030"/>
                      <a:pt x="77443" y="92815"/>
                      <a:pt x="20014" y="66419"/>
                    </a:cubicBezTo>
                    <a:cubicBezTo>
                      <a:pt x="-37415" y="40024"/>
                      <a:pt x="39157" y="-6363"/>
                      <a:pt x="81624" y="497"/>
                    </a:cubicBezTo>
                    <a:close/>
                  </a:path>
                </a:pathLst>
              </a:custGeom>
              <a:solidFill>
                <a:srgbClr val="FFFFFF"/>
              </a:solidFill>
              <a:ln w="6531" cap="flat">
                <a:noFill/>
                <a:prstDash val="solid"/>
                <a:miter/>
              </a:ln>
            </p:spPr>
            <p:txBody>
              <a:bodyPr rtlCol="0" anchor="ctr"/>
              <a:lstStyle/>
              <a:p>
                <a:endParaRPr lang="zh-CN" altLang="en-US"/>
              </a:p>
            </p:txBody>
          </p:sp>
          <p:sp>
            <p:nvSpPr>
              <p:cNvPr id="55" name="isḷíďè">
                <a:extLst>
                  <a:ext uri="{FF2B5EF4-FFF2-40B4-BE49-F238E27FC236}">
                    <a16:creationId xmlns:a16="http://schemas.microsoft.com/office/drawing/2014/main" id="{562C8397-51FE-BB85-E7AC-267789F4C4E3}"/>
                  </a:ext>
                </a:extLst>
              </p:cNvPr>
              <p:cNvSpPr/>
              <p:nvPr/>
            </p:nvSpPr>
            <p:spPr>
              <a:xfrm>
                <a:off x="5558099" y="5492110"/>
                <a:ext cx="98585" cy="71635"/>
              </a:xfrm>
              <a:custGeom>
                <a:avLst/>
                <a:gdLst>
                  <a:gd name="connsiteX0" fmla="*/ 81624 w 98585"/>
                  <a:gd name="connsiteY0" fmla="*/ 497 h 71635"/>
                  <a:gd name="connsiteX1" fmla="*/ 20014 w 98585"/>
                  <a:gd name="connsiteY1" fmla="*/ 66419 h 71635"/>
                  <a:gd name="connsiteX2" fmla="*/ 81624 w 98585"/>
                  <a:gd name="connsiteY2" fmla="*/ 497 h 71635"/>
                </a:gdLst>
                <a:ahLst/>
                <a:cxnLst>
                  <a:cxn ang="0">
                    <a:pos x="connsiteX0" y="connsiteY0"/>
                  </a:cxn>
                  <a:cxn ang="0">
                    <a:pos x="connsiteX1" y="connsiteY1"/>
                  </a:cxn>
                  <a:cxn ang="0">
                    <a:pos x="connsiteX2" y="connsiteY2"/>
                  </a:cxn>
                </a:cxnLst>
                <a:rect l="l" t="t" r="r" b="b"/>
                <a:pathLst>
                  <a:path w="98585" h="71635">
                    <a:moveTo>
                      <a:pt x="81624" y="497"/>
                    </a:moveTo>
                    <a:cubicBezTo>
                      <a:pt x="123961" y="7030"/>
                      <a:pt x="77443" y="92815"/>
                      <a:pt x="20014" y="66419"/>
                    </a:cubicBezTo>
                    <a:cubicBezTo>
                      <a:pt x="-37415" y="40024"/>
                      <a:pt x="39157" y="-6363"/>
                      <a:pt x="81624" y="497"/>
                    </a:cubicBezTo>
                    <a:close/>
                  </a:path>
                </a:pathLst>
              </a:custGeom>
              <a:noFill/>
              <a:ln w="1633" cap="flat">
                <a:solidFill>
                  <a:srgbClr val="000000"/>
                </a:solidFill>
                <a:prstDash val="solid"/>
                <a:miter/>
              </a:ln>
            </p:spPr>
            <p:txBody>
              <a:bodyPr rtlCol="0" anchor="ctr"/>
              <a:lstStyle/>
              <a:p>
                <a:endParaRPr lang="zh-CN" altLang="en-US"/>
              </a:p>
            </p:txBody>
          </p:sp>
          <p:sp>
            <p:nvSpPr>
              <p:cNvPr id="56" name="íşļîďê">
                <a:extLst>
                  <a:ext uri="{FF2B5EF4-FFF2-40B4-BE49-F238E27FC236}">
                    <a16:creationId xmlns:a16="http://schemas.microsoft.com/office/drawing/2014/main" id="{092AFF57-CB19-1132-4E10-ECEA82DC84A6}"/>
                  </a:ext>
                </a:extLst>
              </p:cNvPr>
              <p:cNvSpPr/>
              <p:nvPr/>
            </p:nvSpPr>
            <p:spPr>
              <a:xfrm>
                <a:off x="5558041" y="5492128"/>
                <a:ext cx="98738" cy="53717"/>
              </a:xfrm>
              <a:custGeom>
                <a:avLst/>
                <a:gdLst>
                  <a:gd name="connsiteX0" fmla="*/ 2039 w 98738"/>
                  <a:gd name="connsiteY0" fmla="*/ 53530 h 53717"/>
                  <a:gd name="connsiteX1" fmla="*/ 93508 w 98738"/>
                  <a:gd name="connsiteY1" fmla="*/ 37654 h 53717"/>
                  <a:gd name="connsiteX2" fmla="*/ 81747 w 98738"/>
                  <a:gd name="connsiteY2" fmla="*/ 479 h 53717"/>
                  <a:gd name="connsiteX3" fmla="*/ 2039 w 98738"/>
                  <a:gd name="connsiteY3" fmla="*/ 53530 h 53717"/>
                </a:gdLst>
                <a:ahLst/>
                <a:cxnLst>
                  <a:cxn ang="0">
                    <a:pos x="connsiteX0" y="connsiteY0"/>
                  </a:cxn>
                  <a:cxn ang="0">
                    <a:pos x="connsiteX1" y="connsiteY1"/>
                  </a:cxn>
                  <a:cxn ang="0">
                    <a:pos x="connsiteX2" y="connsiteY2"/>
                  </a:cxn>
                  <a:cxn ang="0">
                    <a:pos x="connsiteX3" y="connsiteY3"/>
                  </a:cxn>
                </a:cxnLst>
                <a:rect l="l" t="t" r="r" b="b"/>
                <a:pathLst>
                  <a:path w="98738" h="53717">
                    <a:moveTo>
                      <a:pt x="2039" y="53530"/>
                    </a:moveTo>
                    <a:cubicBezTo>
                      <a:pt x="32785" y="49819"/>
                      <a:pt x="63310" y="44520"/>
                      <a:pt x="93508" y="37654"/>
                    </a:cubicBezTo>
                    <a:cubicBezTo>
                      <a:pt x="101609" y="20667"/>
                      <a:pt x="100041" y="3288"/>
                      <a:pt x="81747" y="479"/>
                    </a:cubicBezTo>
                    <a:cubicBezTo>
                      <a:pt x="46075" y="-5271"/>
                      <a:pt x="-13772" y="27396"/>
                      <a:pt x="2039" y="53530"/>
                    </a:cubicBezTo>
                    <a:close/>
                  </a:path>
                </a:pathLst>
              </a:custGeom>
              <a:solidFill>
                <a:srgbClr val="000000">
                  <a:alpha val="70000"/>
                </a:srgbClr>
              </a:solidFill>
              <a:ln w="6531" cap="flat">
                <a:noFill/>
                <a:prstDash val="solid"/>
                <a:miter/>
              </a:ln>
            </p:spPr>
            <p:txBody>
              <a:bodyPr rtlCol="0" anchor="ctr"/>
              <a:lstStyle/>
              <a:p>
                <a:endParaRPr lang="zh-CN" altLang="en-US"/>
              </a:p>
            </p:txBody>
          </p:sp>
          <p:sp>
            <p:nvSpPr>
              <p:cNvPr id="57" name="ïş1ïḍe">
                <a:extLst>
                  <a:ext uri="{FF2B5EF4-FFF2-40B4-BE49-F238E27FC236}">
                    <a16:creationId xmlns:a16="http://schemas.microsoft.com/office/drawing/2014/main" id="{DB1A4044-C779-D592-A96C-504D158D43D5}"/>
                  </a:ext>
                </a:extLst>
              </p:cNvPr>
              <p:cNvSpPr/>
              <p:nvPr/>
            </p:nvSpPr>
            <p:spPr>
              <a:xfrm>
                <a:off x="5558041" y="5492128"/>
                <a:ext cx="98738" cy="53717"/>
              </a:xfrm>
              <a:custGeom>
                <a:avLst/>
                <a:gdLst>
                  <a:gd name="connsiteX0" fmla="*/ 2039 w 98738"/>
                  <a:gd name="connsiteY0" fmla="*/ 53530 h 53717"/>
                  <a:gd name="connsiteX1" fmla="*/ 93508 w 98738"/>
                  <a:gd name="connsiteY1" fmla="*/ 37654 h 53717"/>
                  <a:gd name="connsiteX2" fmla="*/ 81747 w 98738"/>
                  <a:gd name="connsiteY2" fmla="*/ 479 h 53717"/>
                  <a:gd name="connsiteX3" fmla="*/ 2039 w 98738"/>
                  <a:gd name="connsiteY3" fmla="*/ 53530 h 53717"/>
                </a:gdLst>
                <a:ahLst/>
                <a:cxnLst>
                  <a:cxn ang="0">
                    <a:pos x="connsiteX0" y="connsiteY0"/>
                  </a:cxn>
                  <a:cxn ang="0">
                    <a:pos x="connsiteX1" y="connsiteY1"/>
                  </a:cxn>
                  <a:cxn ang="0">
                    <a:pos x="connsiteX2" y="connsiteY2"/>
                  </a:cxn>
                  <a:cxn ang="0">
                    <a:pos x="connsiteX3" y="connsiteY3"/>
                  </a:cxn>
                </a:cxnLst>
                <a:rect l="l" t="t" r="r" b="b"/>
                <a:pathLst>
                  <a:path w="98738" h="53717">
                    <a:moveTo>
                      <a:pt x="2039" y="53530"/>
                    </a:moveTo>
                    <a:cubicBezTo>
                      <a:pt x="32785" y="49819"/>
                      <a:pt x="63310" y="44520"/>
                      <a:pt x="93508" y="37654"/>
                    </a:cubicBezTo>
                    <a:cubicBezTo>
                      <a:pt x="101609" y="20667"/>
                      <a:pt x="100041" y="3288"/>
                      <a:pt x="81747" y="479"/>
                    </a:cubicBezTo>
                    <a:cubicBezTo>
                      <a:pt x="46075" y="-5271"/>
                      <a:pt x="-13772" y="27396"/>
                      <a:pt x="2039" y="53530"/>
                    </a:cubicBezTo>
                    <a:close/>
                  </a:path>
                </a:pathLst>
              </a:custGeom>
              <a:noFill/>
              <a:ln w="1633" cap="flat">
                <a:solidFill>
                  <a:srgbClr val="000000"/>
                </a:solidFill>
                <a:prstDash val="solid"/>
                <a:miter/>
              </a:ln>
            </p:spPr>
            <p:txBody>
              <a:bodyPr rtlCol="0" anchor="ctr"/>
              <a:lstStyle/>
              <a:p>
                <a:endParaRPr lang="zh-CN" altLang="en-US"/>
              </a:p>
            </p:txBody>
          </p:sp>
          <p:sp>
            <p:nvSpPr>
              <p:cNvPr id="58" name="íşḻiḍé">
                <a:extLst>
                  <a:ext uri="{FF2B5EF4-FFF2-40B4-BE49-F238E27FC236}">
                    <a16:creationId xmlns:a16="http://schemas.microsoft.com/office/drawing/2014/main" id="{3F6DEA68-DDF3-7B39-193D-2421B1306274}"/>
                  </a:ext>
                </a:extLst>
              </p:cNvPr>
              <p:cNvSpPr/>
              <p:nvPr/>
            </p:nvSpPr>
            <p:spPr>
              <a:xfrm>
                <a:off x="5558099" y="5492110"/>
                <a:ext cx="98585" cy="71635"/>
              </a:xfrm>
              <a:custGeom>
                <a:avLst/>
                <a:gdLst>
                  <a:gd name="connsiteX0" fmla="*/ 81624 w 98585"/>
                  <a:gd name="connsiteY0" fmla="*/ 497 h 71635"/>
                  <a:gd name="connsiteX1" fmla="*/ 20014 w 98585"/>
                  <a:gd name="connsiteY1" fmla="*/ 66419 h 71635"/>
                  <a:gd name="connsiteX2" fmla="*/ 81624 w 98585"/>
                  <a:gd name="connsiteY2" fmla="*/ 497 h 71635"/>
                </a:gdLst>
                <a:ahLst/>
                <a:cxnLst>
                  <a:cxn ang="0">
                    <a:pos x="connsiteX0" y="connsiteY0"/>
                  </a:cxn>
                  <a:cxn ang="0">
                    <a:pos x="connsiteX1" y="connsiteY1"/>
                  </a:cxn>
                  <a:cxn ang="0">
                    <a:pos x="connsiteX2" y="connsiteY2"/>
                  </a:cxn>
                </a:cxnLst>
                <a:rect l="l" t="t" r="r" b="b"/>
                <a:pathLst>
                  <a:path w="98585" h="71635">
                    <a:moveTo>
                      <a:pt x="81624" y="497"/>
                    </a:moveTo>
                    <a:cubicBezTo>
                      <a:pt x="123961" y="7030"/>
                      <a:pt x="77443" y="92815"/>
                      <a:pt x="20014" y="66419"/>
                    </a:cubicBezTo>
                    <a:cubicBezTo>
                      <a:pt x="-37415" y="40024"/>
                      <a:pt x="39157" y="-6363"/>
                      <a:pt x="81624" y="497"/>
                    </a:cubicBezTo>
                    <a:close/>
                  </a:path>
                </a:pathLst>
              </a:custGeom>
              <a:noFill/>
              <a:ln w="1633" cap="rnd">
                <a:solidFill>
                  <a:srgbClr val="263238"/>
                </a:solidFill>
                <a:prstDash val="solid"/>
                <a:round/>
              </a:ln>
            </p:spPr>
            <p:txBody>
              <a:bodyPr rtlCol="0" anchor="ctr"/>
              <a:lstStyle/>
              <a:p>
                <a:endParaRPr lang="zh-CN" altLang="en-US"/>
              </a:p>
            </p:txBody>
          </p:sp>
          <p:sp>
            <p:nvSpPr>
              <p:cNvPr id="59" name="ïŝḻîḑe">
                <a:extLst>
                  <a:ext uri="{FF2B5EF4-FFF2-40B4-BE49-F238E27FC236}">
                    <a16:creationId xmlns:a16="http://schemas.microsoft.com/office/drawing/2014/main" id="{0F5996CA-C485-7D1B-5100-022C2574E916}"/>
                  </a:ext>
                </a:extLst>
              </p:cNvPr>
              <p:cNvSpPr/>
              <p:nvPr/>
            </p:nvSpPr>
            <p:spPr>
              <a:xfrm>
                <a:off x="5074194" y="5348726"/>
                <a:ext cx="233046" cy="206070"/>
              </a:xfrm>
              <a:custGeom>
                <a:avLst/>
                <a:gdLst>
                  <a:gd name="connsiteX0" fmla="*/ 214094 w 233046"/>
                  <a:gd name="connsiteY0" fmla="*/ 205883 h 206070"/>
                  <a:gd name="connsiteX1" fmla="*/ -8 w 233046"/>
                  <a:gd name="connsiteY1" fmla="*/ 93965 h 206070"/>
                  <a:gd name="connsiteX2" fmla="*/ 172149 w 233046"/>
                  <a:gd name="connsiteY2" fmla="*/ 79 h 206070"/>
                  <a:gd name="connsiteX3" fmla="*/ 214094 w 233046"/>
                  <a:gd name="connsiteY3" fmla="*/ 205883 h 206070"/>
                </a:gdLst>
                <a:ahLst/>
                <a:cxnLst>
                  <a:cxn ang="0">
                    <a:pos x="connsiteX0" y="connsiteY0"/>
                  </a:cxn>
                  <a:cxn ang="0">
                    <a:pos x="connsiteX1" y="connsiteY1"/>
                  </a:cxn>
                  <a:cxn ang="0">
                    <a:pos x="connsiteX2" y="connsiteY2"/>
                  </a:cxn>
                  <a:cxn ang="0">
                    <a:pos x="connsiteX3" y="connsiteY3"/>
                  </a:cxn>
                </a:cxnLst>
                <a:rect l="l" t="t" r="r" b="b"/>
                <a:pathLst>
                  <a:path w="233046" h="206070">
                    <a:moveTo>
                      <a:pt x="214094" y="205883"/>
                    </a:moveTo>
                    <a:cubicBezTo>
                      <a:pt x="102633" y="180468"/>
                      <a:pt x="5023" y="144076"/>
                      <a:pt x="-8" y="93965"/>
                    </a:cubicBezTo>
                    <a:cubicBezTo>
                      <a:pt x="-8174" y="17980"/>
                      <a:pt x="74278" y="-2862"/>
                      <a:pt x="172149" y="79"/>
                    </a:cubicBezTo>
                    <a:cubicBezTo>
                      <a:pt x="176462" y="4195"/>
                      <a:pt x="271524" y="94618"/>
                      <a:pt x="214094" y="205883"/>
                    </a:cubicBezTo>
                    <a:close/>
                  </a:path>
                </a:pathLst>
              </a:custGeom>
              <a:solidFill>
                <a:srgbClr val="FFFFFF"/>
              </a:solidFill>
              <a:ln w="6531" cap="flat">
                <a:noFill/>
                <a:prstDash val="solid"/>
                <a:miter/>
              </a:ln>
            </p:spPr>
            <p:txBody>
              <a:bodyPr rtlCol="0" anchor="ctr"/>
              <a:lstStyle/>
              <a:p>
                <a:endParaRPr lang="zh-CN" altLang="en-US"/>
              </a:p>
            </p:txBody>
          </p:sp>
          <p:sp>
            <p:nvSpPr>
              <p:cNvPr id="60" name="íṣliḓe">
                <a:extLst>
                  <a:ext uri="{FF2B5EF4-FFF2-40B4-BE49-F238E27FC236}">
                    <a16:creationId xmlns:a16="http://schemas.microsoft.com/office/drawing/2014/main" id="{0FC9EE02-8AF3-569A-C863-41067D049F31}"/>
                  </a:ext>
                </a:extLst>
              </p:cNvPr>
              <p:cNvSpPr/>
              <p:nvPr/>
            </p:nvSpPr>
            <p:spPr>
              <a:xfrm>
                <a:off x="5074194" y="5348726"/>
                <a:ext cx="233046" cy="206070"/>
              </a:xfrm>
              <a:custGeom>
                <a:avLst/>
                <a:gdLst>
                  <a:gd name="connsiteX0" fmla="*/ 214094 w 233046"/>
                  <a:gd name="connsiteY0" fmla="*/ 205883 h 206070"/>
                  <a:gd name="connsiteX1" fmla="*/ -8 w 233046"/>
                  <a:gd name="connsiteY1" fmla="*/ 93965 h 206070"/>
                  <a:gd name="connsiteX2" fmla="*/ 172149 w 233046"/>
                  <a:gd name="connsiteY2" fmla="*/ 79 h 206070"/>
                  <a:gd name="connsiteX3" fmla="*/ 214094 w 233046"/>
                  <a:gd name="connsiteY3" fmla="*/ 205883 h 206070"/>
                </a:gdLst>
                <a:ahLst/>
                <a:cxnLst>
                  <a:cxn ang="0">
                    <a:pos x="connsiteX0" y="connsiteY0"/>
                  </a:cxn>
                  <a:cxn ang="0">
                    <a:pos x="connsiteX1" y="connsiteY1"/>
                  </a:cxn>
                  <a:cxn ang="0">
                    <a:pos x="connsiteX2" y="connsiteY2"/>
                  </a:cxn>
                  <a:cxn ang="0">
                    <a:pos x="connsiteX3" y="connsiteY3"/>
                  </a:cxn>
                </a:cxnLst>
                <a:rect l="l" t="t" r="r" b="b"/>
                <a:pathLst>
                  <a:path w="233046" h="206070">
                    <a:moveTo>
                      <a:pt x="214094" y="205883"/>
                    </a:moveTo>
                    <a:cubicBezTo>
                      <a:pt x="102633" y="180468"/>
                      <a:pt x="5023" y="144076"/>
                      <a:pt x="-8" y="93965"/>
                    </a:cubicBezTo>
                    <a:cubicBezTo>
                      <a:pt x="-8174" y="17980"/>
                      <a:pt x="74278" y="-2862"/>
                      <a:pt x="172149" y="79"/>
                    </a:cubicBezTo>
                    <a:cubicBezTo>
                      <a:pt x="176462" y="4195"/>
                      <a:pt x="271524" y="94618"/>
                      <a:pt x="214094" y="205883"/>
                    </a:cubicBezTo>
                    <a:close/>
                  </a:path>
                </a:pathLst>
              </a:custGeom>
              <a:noFill/>
              <a:ln w="1633" cap="flat">
                <a:solidFill>
                  <a:srgbClr val="000000"/>
                </a:solidFill>
                <a:prstDash val="solid"/>
                <a:miter/>
              </a:ln>
            </p:spPr>
            <p:txBody>
              <a:bodyPr rtlCol="0" anchor="ctr"/>
              <a:lstStyle/>
              <a:p>
                <a:endParaRPr lang="zh-CN" altLang="en-US"/>
              </a:p>
            </p:txBody>
          </p:sp>
          <p:sp>
            <p:nvSpPr>
              <p:cNvPr id="61" name="íś1íḍé">
                <a:extLst>
                  <a:ext uri="{FF2B5EF4-FFF2-40B4-BE49-F238E27FC236}">
                    <a16:creationId xmlns:a16="http://schemas.microsoft.com/office/drawing/2014/main" id="{968624B5-7021-0613-7D25-530F912339A8}"/>
                  </a:ext>
                </a:extLst>
              </p:cNvPr>
              <p:cNvSpPr/>
              <p:nvPr/>
            </p:nvSpPr>
            <p:spPr>
              <a:xfrm>
                <a:off x="5074234" y="5348723"/>
                <a:ext cx="232752" cy="188171"/>
              </a:xfrm>
              <a:custGeom>
                <a:avLst/>
                <a:gdLst>
                  <a:gd name="connsiteX0" fmla="*/ -179 w 232752"/>
                  <a:gd name="connsiteY0" fmla="*/ 93183 h 188171"/>
                  <a:gd name="connsiteX1" fmla="*/ 130490 w 232752"/>
                  <a:gd name="connsiteY1" fmla="*/ 157342 h 188171"/>
                  <a:gd name="connsiteX2" fmla="*/ 222547 w 232752"/>
                  <a:gd name="connsiteY2" fmla="*/ 187984 h 188171"/>
                  <a:gd name="connsiteX3" fmla="*/ 171978 w 232752"/>
                  <a:gd name="connsiteY3" fmla="*/ 81 h 188171"/>
                  <a:gd name="connsiteX4" fmla="*/ -179 w 232752"/>
                  <a:gd name="connsiteY4" fmla="*/ 93183 h 1881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2752" h="188171">
                    <a:moveTo>
                      <a:pt x="-179" y="93183"/>
                    </a:moveTo>
                    <a:cubicBezTo>
                      <a:pt x="45425" y="110118"/>
                      <a:pt x="89206" y="131613"/>
                      <a:pt x="130490" y="157342"/>
                    </a:cubicBezTo>
                    <a:cubicBezTo>
                      <a:pt x="159950" y="170925"/>
                      <a:pt x="190821" y="181202"/>
                      <a:pt x="222547" y="187984"/>
                    </a:cubicBezTo>
                    <a:cubicBezTo>
                      <a:pt x="260115" y="85017"/>
                      <a:pt x="176029" y="3936"/>
                      <a:pt x="171978" y="81"/>
                    </a:cubicBezTo>
                    <a:cubicBezTo>
                      <a:pt x="74891" y="-2859"/>
                      <a:pt x="-6908" y="17722"/>
                      <a:pt x="-179" y="93183"/>
                    </a:cubicBezTo>
                    <a:close/>
                  </a:path>
                </a:pathLst>
              </a:custGeom>
              <a:solidFill>
                <a:srgbClr val="000000">
                  <a:alpha val="70000"/>
                </a:srgbClr>
              </a:solidFill>
              <a:ln w="6531" cap="flat">
                <a:noFill/>
                <a:prstDash val="solid"/>
                <a:miter/>
              </a:ln>
            </p:spPr>
            <p:txBody>
              <a:bodyPr rtlCol="0" anchor="ctr"/>
              <a:lstStyle/>
              <a:p>
                <a:endParaRPr lang="zh-CN" altLang="en-US"/>
              </a:p>
            </p:txBody>
          </p:sp>
          <p:sp>
            <p:nvSpPr>
              <p:cNvPr id="62" name="i$lïḑê">
                <a:extLst>
                  <a:ext uri="{FF2B5EF4-FFF2-40B4-BE49-F238E27FC236}">
                    <a16:creationId xmlns:a16="http://schemas.microsoft.com/office/drawing/2014/main" id="{41E08038-1BC2-3E8F-7D24-37531A8A2604}"/>
                  </a:ext>
                </a:extLst>
              </p:cNvPr>
              <p:cNvSpPr/>
              <p:nvPr/>
            </p:nvSpPr>
            <p:spPr>
              <a:xfrm>
                <a:off x="5074234" y="5348723"/>
                <a:ext cx="232752" cy="188171"/>
              </a:xfrm>
              <a:custGeom>
                <a:avLst/>
                <a:gdLst>
                  <a:gd name="connsiteX0" fmla="*/ -179 w 232752"/>
                  <a:gd name="connsiteY0" fmla="*/ 93183 h 188171"/>
                  <a:gd name="connsiteX1" fmla="*/ 130490 w 232752"/>
                  <a:gd name="connsiteY1" fmla="*/ 157342 h 188171"/>
                  <a:gd name="connsiteX2" fmla="*/ 222547 w 232752"/>
                  <a:gd name="connsiteY2" fmla="*/ 187984 h 188171"/>
                  <a:gd name="connsiteX3" fmla="*/ 171978 w 232752"/>
                  <a:gd name="connsiteY3" fmla="*/ 81 h 188171"/>
                  <a:gd name="connsiteX4" fmla="*/ -179 w 232752"/>
                  <a:gd name="connsiteY4" fmla="*/ 93183 h 1881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2752" h="188171">
                    <a:moveTo>
                      <a:pt x="-179" y="93183"/>
                    </a:moveTo>
                    <a:cubicBezTo>
                      <a:pt x="45425" y="110118"/>
                      <a:pt x="89206" y="131613"/>
                      <a:pt x="130490" y="157342"/>
                    </a:cubicBezTo>
                    <a:cubicBezTo>
                      <a:pt x="159950" y="170925"/>
                      <a:pt x="190821" y="181202"/>
                      <a:pt x="222547" y="187984"/>
                    </a:cubicBezTo>
                    <a:cubicBezTo>
                      <a:pt x="260115" y="85017"/>
                      <a:pt x="176029" y="3936"/>
                      <a:pt x="171978" y="81"/>
                    </a:cubicBezTo>
                    <a:cubicBezTo>
                      <a:pt x="74891" y="-2859"/>
                      <a:pt x="-6908" y="17722"/>
                      <a:pt x="-179" y="93183"/>
                    </a:cubicBezTo>
                    <a:close/>
                  </a:path>
                </a:pathLst>
              </a:custGeom>
              <a:noFill/>
              <a:ln w="1633" cap="flat">
                <a:solidFill>
                  <a:srgbClr val="000000"/>
                </a:solidFill>
                <a:prstDash val="solid"/>
                <a:miter/>
              </a:ln>
            </p:spPr>
            <p:txBody>
              <a:bodyPr rtlCol="0" anchor="ctr"/>
              <a:lstStyle/>
              <a:p>
                <a:endParaRPr lang="zh-CN" altLang="en-US"/>
              </a:p>
            </p:txBody>
          </p:sp>
          <p:sp>
            <p:nvSpPr>
              <p:cNvPr id="63" name="í$ľïḍê">
                <a:extLst>
                  <a:ext uri="{FF2B5EF4-FFF2-40B4-BE49-F238E27FC236}">
                    <a16:creationId xmlns:a16="http://schemas.microsoft.com/office/drawing/2014/main" id="{ADFE1808-733E-6743-E6E6-554621A09ED0}"/>
                  </a:ext>
                </a:extLst>
              </p:cNvPr>
              <p:cNvSpPr/>
              <p:nvPr/>
            </p:nvSpPr>
            <p:spPr>
              <a:xfrm>
                <a:off x="5074194" y="5348726"/>
                <a:ext cx="233046" cy="206070"/>
              </a:xfrm>
              <a:custGeom>
                <a:avLst/>
                <a:gdLst>
                  <a:gd name="connsiteX0" fmla="*/ 214094 w 233046"/>
                  <a:gd name="connsiteY0" fmla="*/ 205883 h 206070"/>
                  <a:gd name="connsiteX1" fmla="*/ -8 w 233046"/>
                  <a:gd name="connsiteY1" fmla="*/ 93965 h 206070"/>
                  <a:gd name="connsiteX2" fmla="*/ 172149 w 233046"/>
                  <a:gd name="connsiteY2" fmla="*/ 79 h 206070"/>
                  <a:gd name="connsiteX3" fmla="*/ 214094 w 233046"/>
                  <a:gd name="connsiteY3" fmla="*/ 205883 h 206070"/>
                </a:gdLst>
                <a:ahLst/>
                <a:cxnLst>
                  <a:cxn ang="0">
                    <a:pos x="connsiteX0" y="connsiteY0"/>
                  </a:cxn>
                  <a:cxn ang="0">
                    <a:pos x="connsiteX1" y="connsiteY1"/>
                  </a:cxn>
                  <a:cxn ang="0">
                    <a:pos x="connsiteX2" y="connsiteY2"/>
                  </a:cxn>
                  <a:cxn ang="0">
                    <a:pos x="connsiteX3" y="connsiteY3"/>
                  </a:cxn>
                </a:cxnLst>
                <a:rect l="l" t="t" r="r" b="b"/>
                <a:pathLst>
                  <a:path w="233046" h="206070">
                    <a:moveTo>
                      <a:pt x="214094" y="205883"/>
                    </a:moveTo>
                    <a:cubicBezTo>
                      <a:pt x="102633" y="180468"/>
                      <a:pt x="5023" y="144076"/>
                      <a:pt x="-8" y="93965"/>
                    </a:cubicBezTo>
                    <a:cubicBezTo>
                      <a:pt x="-8174" y="17980"/>
                      <a:pt x="74278" y="-2862"/>
                      <a:pt x="172149" y="79"/>
                    </a:cubicBezTo>
                    <a:cubicBezTo>
                      <a:pt x="176462" y="4195"/>
                      <a:pt x="271524" y="94618"/>
                      <a:pt x="214094" y="205883"/>
                    </a:cubicBezTo>
                    <a:close/>
                  </a:path>
                </a:pathLst>
              </a:custGeom>
              <a:noFill/>
              <a:ln w="1633" cap="rnd">
                <a:solidFill>
                  <a:srgbClr val="263238"/>
                </a:solidFill>
                <a:prstDash val="solid"/>
                <a:round/>
              </a:ln>
            </p:spPr>
            <p:txBody>
              <a:bodyPr rtlCol="0" anchor="ctr"/>
              <a:lstStyle/>
              <a:p>
                <a:endParaRPr lang="zh-CN" altLang="en-US"/>
              </a:p>
            </p:txBody>
          </p:sp>
          <p:sp>
            <p:nvSpPr>
              <p:cNvPr id="64" name="ísḷíḑe">
                <a:extLst>
                  <a:ext uri="{FF2B5EF4-FFF2-40B4-BE49-F238E27FC236}">
                    <a16:creationId xmlns:a16="http://schemas.microsoft.com/office/drawing/2014/main" id="{9B6F6B7E-9F36-02A6-3ABE-AD666A2D6672}"/>
                  </a:ext>
                </a:extLst>
              </p:cNvPr>
              <p:cNvSpPr/>
              <p:nvPr/>
            </p:nvSpPr>
            <p:spPr>
              <a:xfrm>
                <a:off x="5307216" y="5339949"/>
                <a:ext cx="71612" cy="116367"/>
              </a:xfrm>
              <a:custGeom>
                <a:avLst/>
                <a:gdLst>
                  <a:gd name="connsiteX0" fmla="*/ 60323 w 71612"/>
                  <a:gd name="connsiteY0" fmla="*/ 116135 h 116367"/>
                  <a:gd name="connsiteX1" fmla="*/ 59604 w 71612"/>
                  <a:gd name="connsiteY1" fmla="*/ 116135 h 116367"/>
                  <a:gd name="connsiteX2" fmla="*/ 46537 w 71612"/>
                  <a:gd name="connsiteY2" fmla="*/ 105355 h 116367"/>
                  <a:gd name="connsiteX3" fmla="*/ 46537 w 71612"/>
                  <a:gd name="connsiteY3" fmla="*/ 105355 h 116367"/>
                  <a:gd name="connsiteX4" fmla="*/ 3089 w 71612"/>
                  <a:gd name="connsiteY4" fmla="*/ 19048 h 116367"/>
                  <a:gd name="connsiteX5" fmla="*/ 1985 w 71612"/>
                  <a:gd name="connsiteY5" fmla="*/ 4210 h 116367"/>
                  <a:gd name="connsiteX6" fmla="*/ 3089 w 71612"/>
                  <a:gd name="connsiteY6" fmla="*/ 3106 h 116367"/>
                  <a:gd name="connsiteX7" fmla="*/ 3089 w 71612"/>
                  <a:gd name="connsiteY7" fmla="*/ 3106 h 116367"/>
                  <a:gd name="connsiteX8" fmla="*/ 20730 w 71612"/>
                  <a:gd name="connsiteY8" fmla="*/ 3106 h 116367"/>
                  <a:gd name="connsiteX9" fmla="*/ 71037 w 71612"/>
                  <a:gd name="connsiteY9" fmla="*/ 104114 h 116367"/>
                  <a:gd name="connsiteX10" fmla="*/ 60323 w 71612"/>
                  <a:gd name="connsiteY10" fmla="*/ 116135 h 116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1612" h="116367">
                    <a:moveTo>
                      <a:pt x="60323" y="116135"/>
                    </a:moveTo>
                    <a:lnTo>
                      <a:pt x="59604" y="116135"/>
                    </a:lnTo>
                    <a:cubicBezTo>
                      <a:pt x="53038" y="116704"/>
                      <a:pt x="47223" y="111908"/>
                      <a:pt x="46537" y="105355"/>
                    </a:cubicBezTo>
                    <a:lnTo>
                      <a:pt x="46537" y="105355"/>
                    </a:lnTo>
                    <a:cubicBezTo>
                      <a:pt x="42107" y="72537"/>
                      <a:pt x="26806" y="42156"/>
                      <a:pt x="3089" y="19048"/>
                    </a:cubicBezTo>
                    <a:cubicBezTo>
                      <a:pt x="-1314" y="15258"/>
                      <a:pt x="-1811" y="8614"/>
                      <a:pt x="1985" y="4210"/>
                    </a:cubicBezTo>
                    <a:cubicBezTo>
                      <a:pt x="2325" y="3818"/>
                      <a:pt x="2691" y="3446"/>
                      <a:pt x="3089" y="3106"/>
                    </a:cubicBezTo>
                    <a:lnTo>
                      <a:pt x="3089" y="3106"/>
                    </a:lnTo>
                    <a:cubicBezTo>
                      <a:pt x="8153" y="-1285"/>
                      <a:pt x="15666" y="-1285"/>
                      <a:pt x="20730" y="3106"/>
                    </a:cubicBezTo>
                    <a:cubicBezTo>
                      <a:pt x="48654" y="29958"/>
                      <a:pt x="66425" y="65644"/>
                      <a:pt x="71037" y="104114"/>
                    </a:cubicBezTo>
                    <a:cubicBezTo>
                      <a:pt x="71266" y="110346"/>
                      <a:pt x="66542" y="115652"/>
                      <a:pt x="60323" y="116135"/>
                    </a:cubicBezTo>
                    <a:close/>
                  </a:path>
                </a:pathLst>
              </a:custGeom>
              <a:solidFill>
                <a:srgbClr val="FFFFFF"/>
              </a:solidFill>
              <a:ln w="6531" cap="flat">
                <a:noFill/>
                <a:prstDash val="solid"/>
                <a:miter/>
              </a:ln>
            </p:spPr>
            <p:txBody>
              <a:bodyPr rtlCol="0" anchor="ctr"/>
              <a:lstStyle/>
              <a:p>
                <a:endParaRPr lang="zh-CN" altLang="en-US"/>
              </a:p>
            </p:txBody>
          </p:sp>
          <p:sp>
            <p:nvSpPr>
              <p:cNvPr id="65" name="íŝlíḋè">
                <a:extLst>
                  <a:ext uri="{FF2B5EF4-FFF2-40B4-BE49-F238E27FC236}">
                    <a16:creationId xmlns:a16="http://schemas.microsoft.com/office/drawing/2014/main" id="{C3AB4E2E-1C8E-7673-1AF9-4474A4AF1CB1}"/>
                  </a:ext>
                </a:extLst>
              </p:cNvPr>
              <p:cNvSpPr/>
              <p:nvPr/>
            </p:nvSpPr>
            <p:spPr>
              <a:xfrm>
                <a:off x="5307216" y="5339949"/>
                <a:ext cx="71612" cy="116367"/>
              </a:xfrm>
              <a:custGeom>
                <a:avLst/>
                <a:gdLst>
                  <a:gd name="connsiteX0" fmla="*/ 60323 w 71612"/>
                  <a:gd name="connsiteY0" fmla="*/ 116135 h 116367"/>
                  <a:gd name="connsiteX1" fmla="*/ 59604 w 71612"/>
                  <a:gd name="connsiteY1" fmla="*/ 116135 h 116367"/>
                  <a:gd name="connsiteX2" fmla="*/ 46537 w 71612"/>
                  <a:gd name="connsiteY2" fmla="*/ 105355 h 116367"/>
                  <a:gd name="connsiteX3" fmla="*/ 46537 w 71612"/>
                  <a:gd name="connsiteY3" fmla="*/ 105355 h 116367"/>
                  <a:gd name="connsiteX4" fmla="*/ 3089 w 71612"/>
                  <a:gd name="connsiteY4" fmla="*/ 19048 h 116367"/>
                  <a:gd name="connsiteX5" fmla="*/ 1985 w 71612"/>
                  <a:gd name="connsiteY5" fmla="*/ 4210 h 116367"/>
                  <a:gd name="connsiteX6" fmla="*/ 3089 w 71612"/>
                  <a:gd name="connsiteY6" fmla="*/ 3106 h 116367"/>
                  <a:gd name="connsiteX7" fmla="*/ 3089 w 71612"/>
                  <a:gd name="connsiteY7" fmla="*/ 3106 h 116367"/>
                  <a:gd name="connsiteX8" fmla="*/ 20730 w 71612"/>
                  <a:gd name="connsiteY8" fmla="*/ 3106 h 116367"/>
                  <a:gd name="connsiteX9" fmla="*/ 71037 w 71612"/>
                  <a:gd name="connsiteY9" fmla="*/ 104114 h 116367"/>
                  <a:gd name="connsiteX10" fmla="*/ 60323 w 71612"/>
                  <a:gd name="connsiteY10" fmla="*/ 116135 h 116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1612" h="116367">
                    <a:moveTo>
                      <a:pt x="60323" y="116135"/>
                    </a:moveTo>
                    <a:lnTo>
                      <a:pt x="59604" y="116135"/>
                    </a:lnTo>
                    <a:cubicBezTo>
                      <a:pt x="53038" y="116704"/>
                      <a:pt x="47223" y="111908"/>
                      <a:pt x="46537" y="105355"/>
                    </a:cubicBezTo>
                    <a:lnTo>
                      <a:pt x="46537" y="105355"/>
                    </a:lnTo>
                    <a:cubicBezTo>
                      <a:pt x="42107" y="72537"/>
                      <a:pt x="26806" y="42156"/>
                      <a:pt x="3089" y="19048"/>
                    </a:cubicBezTo>
                    <a:cubicBezTo>
                      <a:pt x="-1314" y="15258"/>
                      <a:pt x="-1811" y="8614"/>
                      <a:pt x="1985" y="4210"/>
                    </a:cubicBezTo>
                    <a:cubicBezTo>
                      <a:pt x="2325" y="3818"/>
                      <a:pt x="2691" y="3446"/>
                      <a:pt x="3089" y="3106"/>
                    </a:cubicBezTo>
                    <a:lnTo>
                      <a:pt x="3089" y="3106"/>
                    </a:lnTo>
                    <a:cubicBezTo>
                      <a:pt x="8153" y="-1285"/>
                      <a:pt x="15666" y="-1285"/>
                      <a:pt x="20730" y="3106"/>
                    </a:cubicBezTo>
                    <a:cubicBezTo>
                      <a:pt x="48654" y="29958"/>
                      <a:pt x="66425" y="65644"/>
                      <a:pt x="71037" y="104114"/>
                    </a:cubicBezTo>
                    <a:cubicBezTo>
                      <a:pt x="71266" y="110346"/>
                      <a:pt x="66542" y="115652"/>
                      <a:pt x="60323" y="116135"/>
                    </a:cubicBezTo>
                    <a:close/>
                  </a:path>
                </a:pathLst>
              </a:custGeom>
              <a:noFill/>
              <a:ln w="1633" cap="rnd">
                <a:solidFill>
                  <a:srgbClr val="263238"/>
                </a:solidFill>
                <a:prstDash val="solid"/>
                <a:round/>
              </a:ln>
            </p:spPr>
            <p:txBody>
              <a:bodyPr rtlCol="0" anchor="ctr"/>
              <a:lstStyle/>
              <a:p>
                <a:endParaRPr lang="zh-CN" altLang="en-US"/>
              </a:p>
            </p:txBody>
          </p:sp>
          <p:sp>
            <p:nvSpPr>
              <p:cNvPr id="66" name="îṧlïḍe">
                <a:extLst>
                  <a:ext uri="{FF2B5EF4-FFF2-40B4-BE49-F238E27FC236}">
                    <a16:creationId xmlns:a16="http://schemas.microsoft.com/office/drawing/2014/main" id="{77C252B1-4D30-175A-A960-184DF1D5CCC0}"/>
                  </a:ext>
                </a:extLst>
              </p:cNvPr>
              <p:cNvSpPr/>
              <p:nvPr/>
            </p:nvSpPr>
            <p:spPr>
              <a:xfrm>
                <a:off x="5360806" y="5339800"/>
                <a:ext cx="62588" cy="125424"/>
              </a:xfrm>
              <a:custGeom>
                <a:avLst/>
                <a:gdLst>
                  <a:gd name="connsiteX0" fmla="*/ 51748 w 62588"/>
                  <a:gd name="connsiteY0" fmla="*/ 125236 h 125424"/>
                  <a:gd name="connsiteX1" fmla="*/ 50769 w 62588"/>
                  <a:gd name="connsiteY1" fmla="*/ 125236 h 125424"/>
                  <a:gd name="connsiteX2" fmla="*/ 38878 w 62588"/>
                  <a:gd name="connsiteY2" fmla="*/ 113737 h 125424"/>
                  <a:gd name="connsiteX3" fmla="*/ 38878 w 62588"/>
                  <a:gd name="connsiteY3" fmla="*/ 113737 h 125424"/>
                  <a:gd name="connsiteX4" fmla="*/ 38878 w 62588"/>
                  <a:gd name="connsiteY4" fmla="*/ 113737 h 125424"/>
                  <a:gd name="connsiteX5" fmla="*/ 2878 w 62588"/>
                  <a:gd name="connsiteY5" fmla="*/ 20112 h 125424"/>
                  <a:gd name="connsiteX6" fmla="*/ 2878 w 62588"/>
                  <a:gd name="connsiteY6" fmla="*/ 3321 h 125424"/>
                  <a:gd name="connsiteX7" fmla="*/ 19231 w 62588"/>
                  <a:gd name="connsiteY7" fmla="*/ 3079 h 125424"/>
                  <a:gd name="connsiteX8" fmla="*/ 19473 w 62588"/>
                  <a:gd name="connsiteY8" fmla="*/ 3321 h 125424"/>
                  <a:gd name="connsiteX9" fmla="*/ 20780 w 62588"/>
                  <a:gd name="connsiteY9" fmla="*/ 4889 h 125424"/>
                  <a:gd name="connsiteX10" fmla="*/ 62006 w 62588"/>
                  <a:gd name="connsiteY10" fmla="*/ 113018 h 125424"/>
                  <a:gd name="connsiteX11" fmla="*/ 51748 w 62588"/>
                  <a:gd name="connsiteY11" fmla="*/ 125236 h 125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588" h="125424">
                    <a:moveTo>
                      <a:pt x="51748" y="125236"/>
                    </a:moveTo>
                    <a:lnTo>
                      <a:pt x="50769" y="125236"/>
                    </a:lnTo>
                    <a:cubicBezTo>
                      <a:pt x="44313" y="125347"/>
                      <a:pt x="38988" y="120198"/>
                      <a:pt x="38878" y="113737"/>
                    </a:cubicBezTo>
                    <a:cubicBezTo>
                      <a:pt x="38878" y="113737"/>
                      <a:pt x="38878" y="113737"/>
                      <a:pt x="38878" y="113737"/>
                    </a:cubicBezTo>
                    <a:lnTo>
                      <a:pt x="38878" y="113737"/>
                    </a:lnTo>
                    <a:cubicBezTo>
                      <a:pt x="36238" y="79691"/>
                      <a:pt x="23726" y="47154"/>
                      <a:pt x="2878" y="20112"/>
                    </a:cubicBezTo>
                    <a:cubicBezTo>
                      <a:pt x="-1715" y="15454"/>
                      <a:pt x="-1715" y="7980"/>
                      <a:pt x="2878" y="3321"/>
                    </a:cubicBezTo>
                    <a:cubicBezTo>
                      <a:pt x="7328" y="-1259"/>
                      <a:pt x="14645" y="-1370"/>
                      <a:pt x="19231" y="3079"/>
                    </a:cubicBezTo>
                    <a:cubicBezTo>
                      <a:pt x="19310" y="3158"/>
                      <a:pt x="19395" y="3236"/>
                      <a:pt x="19473" y="3321"/>
                    </a:cubicBezTo>
                    <a:cubicBezTo>
                      <a:pt x="19957" y="3798"/>
                      <a:pt x="20394" y="4327"/>
                      <a:pt x="20780" y="4889"/>
                    </a:cubicBezTo>
                    <a:cubicBezTo>
                      <a:pt x="44934" y="36047"/>
                      <a:pt x="59288" y="73687"/>
                      <a:pt x="62006" y="113018"/>
                    </a:cubicBezTo>
                    <a:cubicBezTo>
                      <a:pt x="62326" y="119153"/>
                      <a:pt x="57844" y="124491"/>
                      <a:pt x="51748" y="125236"/>
                    </a:cubicBezTo>
                    <a:close/>
                  </a:path>
                </a:pathLst>
              </a:custGeom>
              <a:solidFill>
                <a:srgbClr val="FFFFFF"/>
              </a:solidFill>
              <a:ln w="6531" cap="flat">
                <a:noFill/>
                <a:prstDash val="solid"/>
                <a:miter/>
              </a:ln>
            </p:spPr>
            <p:txBody>
              <a:bodyPr rtlCol="0" anchor="ctr"/>
              <a:lstStyle/>
              <a:p>
                <a:endParaRPr lang="zh-CN" altLang="en-US"/>
              </a:p>
            </p:txBody>
          </p:sp>
          <p:sp>
            <p:nvSpPr>
              <p:cNvPr id="67" name="işļíde">
                <a:extLst>
                  <a:ext uri="{FF2B5EF4-FFF2-40B4-BE49-F238E27FC236}">
                    <a16:creationId xmlns:a16="http://schemas.microsoft.com/office/drawing/2014/main" id="{69EB39E4-F410-CC1A-5FFE-1218AF22AA65}"/>
                  </a:ext>
                </a:extLst>
              </p:cNvPr>
              <p:cNvSpPr/>
              <p:nvPr/>
            </p:nvSpPr>
            <p:spPr>
              <a:xfrm>
                <a:off x="5360806" y="5339800"/>
                <a:ext cx="62588" cy="125424"/>
              </a:xfrm>
              <a:custGeom>
                <a:avLst/>
                <a:gdLst>
                  <a:gd name="connsiteX0" fmla="*/ 51748 w 62588"/>
                  <a:gd name="connsiteY0" fmla="*/ 125236 h 125424"/>
                  <a:gd name="connsiteX1" fmla="*/ 50769 w 62588"/>
                  <a:gd name="connsiteY1" fmla="*/ 125236 h 125424"/>
                  <a:gd name="connsiteX2" fmla="*/ 38878 w 62588"/>
                  <a:gd name="connsiteY2" fmla="*/ 113737 h 125424"/>
                  <a:gd name="connsiteX3" fmla="*/ 38878 w 62588"/>
                  <a:gd name="connsiteY3" fmla="*/ 113737 h 125424"/>
                  <a:gd name="connsiteX4" fmla="*/ 38878 w 62588"/>
                  <a:gd name="connsiteY4" fmla="*/ 113737 h 125424"/>
                  <a:gd name="connsiteX5" fmla="*/ 2878 w 62588"/>
                  <a:gd name="connsiteY5" fmla="*/ 20112 h 125424"/>
                  <a:gd name="connsiteX6" fmla="*/ 2878 w 62588"/>
                  <a:gd name="connsiteY6" fmla="*/ 3321 h 125424"/>
                  <a:gd name="connsiteX7" fmla="*/ 19231 w 62588"/>
                  <a:gd name="connsiteY7" fmla="*/ 3079 h 125424"/>
                  <a:gd name="connsiteX8" fmla="*/ 19473 w 62588"/>
                  <a:gd name="connsiteY8" fmla="*/ 3321 h 125424"/>
                  <a:gd name="connsiteX9" fmla="*/ 20780 w 62588"/>
                  <a:gd name="connsiteY9" fmla="*/ 4889 h 125424"/>
                  <a:gd name="connsiteX10" fmla="*/ 62006 w 62588"/>
                  <a:gd name="connsiteY10" fmla="*/ 113018 h 125424"/>
                  <a:gd name="connsiteX11" fmla="*/ 51748 w 62588"/>
                  <a:gd name="connsiteY11" fmla="*/ 125236 h 125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588" h="125424">
                    <a:moveTo>
                      <a:pt x="51748" y="125236"/>
                    </a:moveTo>
                    <a:lnTo>
                      <a:pt x="50769" y="125236"/>
                    </a:lnTo>
                    <a:cubicBezTo>
                      <a:pt x="44313" y="125347"/>
                      <a:pt x="38988" y="120198"/>
                      <a:pt x="38878" y="113737"/>
                    </a:cubicBezTo>
                    <a:cubicBezTo>
                      <a:pt x="38878" y="113737"/>
                      <a:pt x="38878" y="113737"/>
                      <a:pt x="38878" y="113737"/>
                    </a:cubicBezTo>
                    <a:lnTo>
                      <a:pt x="38878" y="113737"/>
                    </a:lnTo>
                    <a:cubicBezTo>
                      <a:pt x="36238" y="79691"/>
                      <a:pt x="23726" y="47154"/>
                      <a:pt x="2878" y="20112"/>
                    </a:cubicBezTo>
                    <a:cubicBezTo>
                      <a:pt x="-1715" y="15454"/>
                      <a:pt x="-1715" y="7980"/>
                      <a:pt x="2878" y="3321"/>
                    </a:cubicBezTo>
                    <a:cubicBezTo>
                      <a:pt x="7328" y="-1259"/>
                      <a:pt x="14645" y="-1370"/>
                      <a:pt x="19231" y="3079"/>
                    </a:cubicBezTo>
                    <a:cubicBezTo>
                      <a:pt x="19310" y="3158"/>
                      <a:pt x="19395" y="3236"/>
                      <a:pt x="19473" y="3321"/>
                    </a:cubicBezTo>
                    <a:cubicBezTo>
                      <a:pt x="19957" y="3798"/>
                      <a:pt x="20394" y="4327"/>
                      <a:pt x="20780" y="4889"/>
                    </a:cubicBezTo>
                    <a:cubicBezTo>
                      <a:pt x="44934" y="36047"/>
                      <a:pt x="59288" y="73687"/>
                      <a:pt x="62006" y="113018"/>
                    </a:cubicBezTo>
                    <a:cubicBezTo>
                      <a:pt x="62326" y="119153"/>
                      <a:pt x="57844" y="124491"/>
                      <a:pt x="51748" y="125236"/>
                    </a:cubicBezTo>
                    <a:close/>
                  </a:path>
                </a:pathLst>
              </a:custGeom>
              <a:noFill/>
              <a:ln w="1633" cap="rnd">
                <a:solidFill>
                  <a:srgbClr val="263238"/>
                </a:solidFill>
                <a:prstDash val="solid"/>
                <a:round/>
              </a:ln>
            </p:spPr>
            <p:txBody>
              <a:bodyPr rtlCol="0" anchor="ctr"/>
              <a:lstStyle/>
              <a:p>
                <a:endParaRPr lang="zh-CN" altLang="en-US"/>
              </a:p>
            </p:txBody>
          </p:sp>
          <p:sp>
            <p:nvSpPr>
              <p:cNvPr id="68" name="íṧ1iḋè">
                <a:extLst>
                  <a:ext uri="{FF2B5EF4-FFF2-40B4-BE49-F238E27FC236}">
                    <a16:creationId xmlns:a16="http://schemas.microsoft.com/office/drawing/2014/main" id="{96690296-45B9-ACEB-31EB-50F2CC1C2F5D}"/>
                  </a:ext>
                </a:extLst>
              </p:cNvPr>
              <p:cNvSpPr/>
              <p:nvPr/>
            </p:nvSpPr>
            <p:spPr>
              <a:xfrm>
                <a:off x="5414700" y="5330878"/>
                <a:ext cx="62719" cy="125367"/>
              </a:xfrm>
              <a:custGeom>
                <a:avLst/>
                <a:gdLst>
                  <a:gd name="connsiteX0" fmla="*/ 51625 w 62719"/>
                  <a:gd name="connsiteY0" fmla="*/ 125141 h 125367"/>
                  <a:gd name="connsiteX1" fmla="*/ 51625 w 62719"/>
                  <a:gd name="connsiteY1" fmla="*/ 125141 h 125367"/>
                  <a:gd name="connsiteX2" fmla="*/ 39290 w 62719"/>
                  <a:gd name="connsiteY2" fmla="*/ 114688 h 125367"/>
                  <a:gd name="connsiteX3" fmla="*/ 39277 w 62719"/>
                  <a:gd name="connsiteY3" fmla="*/ 114492 h 125367"/>
                  <a:gd name="connsiteX4" fmla="*/ 39277 w 62719"/>
                  <a:gd name="connsiteY4" fmla="*/ 114492 h 125367"/>
                  <a:gd name="connsiteX5" fmla="*/ 1317 w 62719"/>
                  <a:gd name="connsiteY5" fmla="*/ 18384 h 125367"/>
                  <a:gd name="connsiteX6" fmla="*/ 4519 w 62719"/>
                  <a:gd name="connsiteY6" fmla="*/ 1789 h 125367"/>
                  <a:gd name="connsiteX7" fmla="*/ 20062 w 62719"/>
                  <a:gd name="connsiteY7" fmla="*/ 4644 h 125367"/>
                  <a:gd name="connsiteX8" fmla="*/ 20329 w 62719"/>
                  <a:gd name="connsiteY8" fmla="*/ 5056 h 125367"/>
                  <a:gd name="connsiteX9" fmla="*/ 62078 w 62719"/>
                  <a:gd name="connsiteY9" fmla="*/ 111747 h 125367"/>
                  <a:gd name="connsiteX10" fmla="*/ 52147 w 62719"/>
                  <a:gd name="connsiteY10" fmla="*/ 124814 h 125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719" h="125367">
                    <a:moveTo>
                      <a:pt x="51625" y="125141"/>
                    </a:moveTo>
                    <a:lnTo>
                      <a:pt x="51625" y="125141"/>
                    </a:lnTo>
                    <a:cubicBezTo>
                      <a:pt x="45333" y="125657"/>
                      <a:pt x="39812" y="120979"/>
                      <a:pt x="39290" y="114688"/>
                    </a:cubicBezTo>
                    <a:cubicBezTo>
                      <a:pt x="39283" y="114622"/>
                      <a:pt x="39283" y="114557"/>
                      <a:pt x="39277" y="114492"/>
                    </a:cubicBezTo>
                    <a:lnTo>
                      <a:pt x="39277" y="114492"/>
                    </a:lnTo>
                    <a:cubicBezTo>
                      <a:pt x="35683" y="73331"/>
                      <a:pt x="1709" y="19364"/>
                      <a:pt x="1317" y="18384"/>
                    </a:cubicBezTo>
                    <a:cubicBezTo>
                      <a:pt x="-2126" y="12870"/>
                      <a:pt x="-728" y="5631"/>
                      <a:pt x="4519" y="1789"/>
                    </a:cubicBezTo>
                    <a:cubicBezTo>
                      <a:pt x="9595" y="-1713"/>
                      <a:pt x="16553" y="-439"/>
                      <a:pt x="20062" y="4644"/>
                    </a:cubicBezTo>
                    <a:cubicBezTo>
                      <a:pt x="20153" y="4781"/>
                      <a:pt x="20245" y="4919"/>
                      <a:pt x="20329" y="5056"/>
                    </a:cubicBezTo>
                    <a:cubicBezTo>
                      <a:pt x="21897" y="7408"/>
                      <a:pt x="57962" y="63857"/>
                      <a:pt x="62078" y="111747"/>
                    </a:cubicBezTo>
                    <a:cubicBezTo>
                      <a:pt x="62784" y="118052"/>
                      <a:pt x="58413" y="123808"/>
                      <a:pt x="52147" y="124814"/>
                    </a:cubicBezTo>
                    <a:close/>
                  </a:path>
                </a:pathLst>
              </a:custGeom>
              <a:solidFill>
                <a:srgbClr val="FFFFFF"/>
              </a:solidFill>
              <a:ln w="6531" cap="flat">
                <a:noFill/>
                <a:prstDash val="solid"/>
                <a:miter/>
              </a:ln>
            </p:spPr>
            <p:txBody>
              <a:bodyPr rtlCol="0" anchor="ctr"/>
              <a:lstStyle/>
              <a:p>
                <a:endParaRPr lang="zh-CN" altLang="en-US"/>
              </a:p>
            </p:txBody>
          </p:sp>
          <p:sp>
            <p:nvSpPr>
              <p:cNvPr id="69" name="ïṩ1íḓé">
                <a:extLst>
                  <a:ext uri="{FF2B5EF4-FFF2-40B4-BE49-F238E27FC236}">
                    <a16:creationId xmlns:a16="http://schemas.microsoft.com/office/drawing/2014/main" id="{B659B640-E5CE-B31D-B4EE-51E517771B72}"/>
                  </a:ext>
                </a:extLst>
              </p:cNvPr>
              <p:cNvSpPr/>
              <p:nvPr/>
            </p:nvSpPr>
            <p:spPr>
              <a:xfrm>
                <a:off x="5414700" y="5330878"/>
                <a:ext cx="62719" cy="125367"/>
              </a:xfrm>
              <a:custGeom>
                <a:avLst/>
                <a:gdLst>
                  <a:gd name="connsiteX0" fmla="*/ 51625 w 62719"/>
                  <a:gd name="connsiteY0" fmla="*/ 125141 h 125367"/>
                  <a:gd name="connsiteX1" fmla="*/ 51625 w 62719"/>
                  <a:gd name="connsiteY1" fmla="*/ 125141 h 125367"/>
                  <a:gd name="connsiteX2" fmla="*/ 39290 w 62719"/>
                  <a:gd name="connsiteY2" fmla="*/ 114688 h 125367"/>
                  <a:gd name="connsiteX3" fmla="*/ 39277 w 62719"/>
                  <a:gd name="connsiteY3" fmla="*/ 114492 h 125367"/>
                  <a:gd name="connsiteX4" fmla="*/ 39277 w 62719"/>
                  <a:gd name="connsiteY4" fmla="*/ 114492 h 125367"/>
                  <a:gd name="connsiteX5" fmla="*/ 1317 w 62719"/>
                  <a:gd name="connsiteY5" fmla="*/ 18384 h 125367"/>
                  <a:gd name="connsiteX6" fmla="*/ 4519 w 62719"/>
                  <a:gd name="connsiteY6" fmla="*/ 1789 h 125367"/>
                  <a:gd name="connsiteX7" fmla="*/ 20062 w 62719"/>
                  <a:gd name="connsiteY7" fmla="*/ 4644 h 125367"/>
                  <a:gd name="connsiteX8" fmla="*/ 20329 w 62719"/>
                  <a:gd name="connsiteY8" fmla="*/ 5056 h 125367"/>
                  <a:gd name="connsiteX9" fmla="*/ 62078 w 62719"/>
                  <a:gd name="connsiteY9" fmla="*/ 111747 h 125367"/>
                  <a:gd name="connsiteX10" fmla="*/ 52147 w 62719"/>
                  <a:gd name="connsiteY10" fmla="*/ 124814 h 125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719" h="125367">
                    <a:moveTo>
                      <a:pt x="51625" y="125141"/>
                    </a:moveTo>
                    <a:lnTo>
                      <a:pt x="51625" y="125141"/>
                    </a:lnTo>
                    <a:cubicBezTo>
                      <a:pt x="45333" y="125657"/>
                      <a:pt x="39812" y="120979"/>
                      <a:pt x="39290" y="114688"/>
                    </a:cubicBezTo>
                    <a:cubicBezTo>
                      <a:pt x="39283" y="114622"/>
                      <a:pt x="39283" y="114557"/>
                      <a:pt x="39277" y="114492"/>
                    </a:cubicBezTo>
                    <a:lnTo>
                      <a:pt x="39277" y="114492"/>
                    </a:lnTo>
                    <a:cubicBezTo>
                      <a:pt x="35683" y="73331"/>
                      <a:pt x="1709" y="19364"/>
                      <a:pt x="1317" y="18384"/>
                    </a:cubicBezTo>
                    <a:cubicBezTo>
                      <a:pt x="-2126" y="12870"/>
                      <a:pt x="-728" y="5631"/>
                      <a:pt x="4519" y="1789"/>
                    </a:cubicBezTo>
                    <a:cubicBezTo>
                      <a:pt x="9595" y="-1713"/>
                      <a:pt x="16553" y="-439"/>
                      <a:pt x="20062" y="4644"/>
                    </a:cubicBezTo>
                    <a:cubicBezTo>
                      <a:pt x="20153" y="4781"/>
                      <a:pt x="20245" y="4919"/>
                      <a:pt x="20329" y="5056"/>
                    </a:cubicBezTo>
                    <a:cubicBezTo>
                      <a:pt x="21897" y="7408"/>
                      <a:pt x="57962" y="63857"/>
                      <a:pt x="62078" y="111747"/>
                    </a:cubicBezTo>
                    <a:cubicBezTo>
                      <a:pt x="62784" y="118052"/>
                      <a:pt x="58413" y="123808"/>
                      <a:pt x="52147" y="124814"/>
                    </a:cubicBezTo>
                    <a:close/>
                  </a:path>
                </a:pathLst>
              </a:custGeom>
              <a:noFill/>
              <a:ln w="1633" cap="rnd">
                <a:solidFill>
                  <a:srgbClr val="263238"/>
                </a:solidFill>
                <a:prstDash val="solid"/>
                <a:round/>
              </a:ln>
            </p:spPr>
            <p:txBody>
              <a:bodyPr rtlCol="0" anchor="ctr"/>
              <a:lstStyle/>
              <a:p>
                <a:endParaRPr lang="zh-CN" altLang="en-US"/>
              </a:p>
            </p:txBody>
          </p:sp>
          <p:sp>
            <p:nvSpPr>
              <p:cNvPr id="70" name="í$ḷïďé">
                <a:extLst>
                  <a:ext uri="{FF2B5EF4-FFF2-40B4-BE49-F238E27FC236}">
                    <a16:creationId xmlns:a16="http://schemas.microsoft.com/office/drawing/2014/main" id="{34CBA7A4-8008-39FB-0E0C-E41912EE87BB}"/>
                  </a:ext>
                </a:extLst>
              </p:cNvPr>
              <p:cNvSpPr/>
              <p:nvPr/>
            </p:nvSpPr>
            <p:spPr>
              <a:xfrm>
                <a:off x="5468436" y="5322382"/>
                <a:ext cx="62735" cy="124901"/>
              </a:xfrm>
              <a:custGeom>
                <a:avLst/>
                <a:gdLst>
                  <a:gd name="connsiteX0" fmla="*/ 51268 w 62735"/>
                  <a:gd name="connsiteY0" fmla="*/ 124621 h 124901"/>
                  <a:gd name="connsiteX1" fmla="*/ 38821 w 62735"/>
                  <a:gd name="connsiteY1" fmla="*/ 115043 h 124901"/>
                  <a:gd name="connsiteX2" fmla="*/ 38920 w 62735"/>
                  <a:gd name="connsiteY2" fmla="*/ 111554 h 124901"/>
                  <a:gd name="connsiteX3" fmla="*/ 38920 w 62735"/>
                  <a:gd name="connsiteY3" fmla="*/ 111554 h 124901"/>
                  <a:gd name="connsiteX4" fmla="*/ 1548 w 62735"/>
                  <a:gd name="connsiteY4" fmla="*/ 18452 h 124901"/>
                  <a:gd name="connsiteX5" fmla="*/ 4292 w 62735"/>
                  <a:gd name="connsiteY5" fmla="*/ 1988 h 124901"/>
                  <a:gd name="connsiteX6" fmla="*/ 16314 w 62735"/>
                  <a:gd name="connsiteY6" fmla="*/ 1204 h 124901"/>
                  <a:gd name="connsiteX7" fmla="*/ 60872 w 62735"/>
                  <a:gd name="connsiteY7" fmla="*/ 115801 h 124901"/>
                  <a:gd name="connsiteX8" fmla="*/ 51268 w 62735"/>
                  <a:gd name="connsiteY8" fmla="*/ 124621 h 124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735" h="124901">
                    <a:moveTo>
                      <a:pt x="51268" y="124621"/>
                    </a:moveTo>
                    <a:cubicBezTo>
                      <a:pt x="45185" y="125411"/>
                      <a:pt x="39612" y="121125"/>
                      <a:pt x="38821" y="115043"/>
                    </a:cubicBezTo>
                    <a:cubicBezTo>
                      <a:pt x="38671" y="113880"/>
                      <a:pt x="38704" y="112704"/>
                      <a:pt x="38920" y="111554"/>
                    </a:cubicBezTo>
                    <a:lnTo>
                      <a:pt x="38920" y="111554"/>
                    </a:lnTo>
                    <a:cubicBezTo>
                      <a:pt x="46956" y="61638"/>
                      <a:pt x="1940" y="18844"/>
                      <a:pt x="1548" y="18452"/>
                    </a:cubicBezTo>
                    <a:cubicBezTo>
                      <a:pt x="-2117" y="13121"/>
                      <a:pt x="-902" y="5842"/>
                      <a:pt x="4292" y="1988"/>
                    </a:cubicBezTo>
                    <a:cubicBezTo>
                      <a:pt x="7801" y="-600"/>
                      <a:pt x="12498" y="-900"/>
                      <a:pt x="16314" y="1204"/>
                    </a:cubicBezTo>
                    <a:cubicBezTo>
                      <a:pt x="18535" y="3229"/>
                      <a:pt x="70999" y="52949"/>
                      <a:pt x="60872" y="115801"/>
                    </a:cubicBezTo>
                    <a:cubicBezTo>
                      <a:pt x="59742" y="120407"/>
                      <a:pt x="55952" y="123889"/>
                      <a:pt x="51268" y="124621"/>
                    </a:cubicBezTo>
                    <a:close/>
                  </a:path>
                </a:pathLst>
              </a:custGeom>
              <a:solidFill>
                <a:srgbClr val="FFFFFF"/>
              </a:solidFill>
              <a:ln w="6531" cap="flat">
                <a:noFill/>
                <a:prstDash val="solid"/>
                <a:miter/>
              </a:ln>
            </p:spPr>
            <p:txBody>
              <a:bodyPr rtlCol="0" anchor="ctr"/>
              <a:lstStyle/>
              <a:p>
                <a:endParaRPr lang="zh-CN" altLang="en-US"/>
              </a:p>
            </p:txBody>
          </p:sp>
          <p:sp>
            <p:nvSpPr>
              <p:cNvPr id="71" name="íṣ1iḍê">
                <a:extLst>
                  <a:ext uri="{FF2B5EF4-FFF2-40B4-BE49-F238E27FC236}">
                    <a16:creationId xmlns:a16="http://schemas.microsoft.com/office/drawing/2014/main" id="{CDDE61C9-1BA9-CBE6-4E97-DDDE7933258E}"/>
                  </a:ext>
                </a:extLst>
              </p:cNvPr>
              <p:cNvSpPr/>
              <p:nvPr/>
            </p:nvSpPr>
            <p:spPr>
              <a:xfrm>
                <a:off x="5468436" y="5322382"/>
                <a:ext cx="62735" cy="124901"/>
              </a:xfrm>
              <a:custGeom>
                <a:avLst/>
                <a:gdLst>
                  <a:gd name="connsiteX0" fmla="*/ 51268 w 62735"/>
                  <a:gd name="connsiteY0" fmla="*/ 124621 h 124901"/>
                  <a:gd name="connsiteX1" fmla="*/ 38821 w 62735"/>
                  <a:gd name="connsiteY1" fmla="*/ 115043 h 124901"/>
                  <a:gd name="connsiteX2" fmla="*/ 38920 w 62735"/>
                  <a:gd name="connsiteY2" fmla="*/ 111554 h 124901"/>
                  <a:gd name="connsiteX3" fmla="*/ 38920 w 62735"/>
                  <a:gd name="connsiteY3" fmla="*/ 111554 h 124901"/>
                  <a:gd name="connsiteX4" fmla="*/ 1548 w 62735"/>
                  <a:gd name="connsiteY4" fmla="*/ 18452 h 124901"/>
                  <a:gd name="connsiteX5" fmla="*/ 4292 w 62735"/>
                  <a:gd name="connsiteY5" fmla="*/ 1988 h 124901"/>
                  <a:gd name="connsiteX6" fmla="*/ 16314 w 62735"/>
                  <a:gd name="connsiteY6" fmla="*/ 1204 h 124901"/>
                  <a:gd name="connsiteX7" fmla="*/ 60872 w 62735"/>
                  <a:gd name="connsiteY7" fmla="*/ 115801 h 124901"/>
                  <a:gd name="connsiteX8" fmla="*/ 51268 w 62735"/>
                  <a:gd name="connsiteY8" fmla="*/ 124621 h 124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735" h="124901">
                    <a:moveTo>
                      <a:pt x="51268" y="124621"/>
                    </a:moveTo>
                    <a:cubicBezTo>
                      <a:pt x="45185" y="125411"/>
                      <a:pt x="39612" y="121125"/>
                      <a:pt x="38821" y="115043"/>
                    </a:cubicBezTo>
                    <a:cubicBezTo>
                      <a:pt x="38671" y="113880"/>
                      <a:pt x="38704" y="112704"/>
                      <a:pt x="38920" y="111554"/>
                    </a:cubicBezTo>
                    <a:lnTo>
                      <a:pt x="38920" y="111554"/>
                    </a:lnTo>
                    <a:cubicBezTo>
                      <a:pt x="46956" y="61638"/>
                      <a:pt x="1940" y="18844"/>
                      <a:pt x="1548" y="18452"/>
                    </a:cubicBezTo>
                    <a:cubicBezTo>
                      <a:pt x="-2117" y="13121"/>
                      <a:pt x="-902" y="5842"/>
                      <a:pt x="4292" y="1988"/>
                    </a:cubicBezTo>
                    <a:cubicBezTo>
                      <a:pt x="7801" y="-600"/>
                      <a:pt x="12498" y="-900"/>
                      <a:pt x="16314" y="1204"/>
                    </a:cubicBezTo>
                    <a:cubicBezTo>
                      <a:pt x="18535" y="3229"/>
                      <a:pt x="70999" y="52949"/>
                      <a:pt x="60872" y="115801"/>
                    </a:cubicBezTo>
                    <a:cubicBezTo>
                      <a:pt x="59742" y="120407"/>
                      <a:pt x="55952" y="123889"/>
                      <a:pt x="51268" y="124621"/>
                    </a:cubicBezTo>
                    <a:close/>
                  </a:path>
                </a:pathLst>
              </a:custGeom>
              <a:noFill/>
              <a:ln w="1633" cap="rnd">
                <a:solidFill>
                  <a:srgbClr val="263238"/>
                </a:solidFill>
                <a:prstDash val="solid"/>
                <a:round/>
              </a:ln>
            </p:spPr>
            <p:txBody>
              <a:bodyPr rtlCol="0" anchor="ctr"/>
              <a:lstStyle/>
              <a:p>
                <a:endParaRPr lang="zh-CN" altLang="en-US"/>
              </a:p>
            </p:txBody>
          </p:sp>
          <p:sp>
            <p:nvSpPr>
              <p:cNvPr id="72" name="îṩḷíďé">
                <a:extLst>
                  <a:ext uri="{FF2B5EF4-FFF2-40B4-BE49-F238E27FC236}">
                    <a16:creationId xmlns:a16="http://schemas.microsoft.com/office/drawing/2014/main" id="{AC0327A1-BDA8-82E1-B0D8-BF1DA53D8555}"/>
                  </a:ext>
                </a:extLst>
              </p:cNvPr>
              <p:cNvSpPr/>
              <p:nvPr/>
            </p:nvSpPr>
            <p:spPr>
              <a:xfrm>
                <a:off x="5531320" y="5313097"/>
                <a:ext cx="62641" cy="125219"/>
              </a:xfrm>
              <a:custGeom>
                <a:avLst/>
                <a:gdLst>
                  <a:gd name="connsiteX0" fmla="*/ 49602 w 62641"/>
                  <a:gd name="connsiteY0" fmla="*/ 124890 h 125219"/>
                  <a:gd name="connsiteX1" fmla="*/ 45748 w 62641"/>
                  <a:gd name="connsiteY1" fmla="*/ 124890 h 125219"/>
                  <a:gd name="connsiteX2" fmla="*/ 36862 w 62641"/>
                  <a:gd name="connsiteY2" fmla="*/ 111823 h 125219"/>
                  <a:gd name="connsiteX3" fmla="*/ 2366 w 62641"/>
                  <a:gd name="connsiteY3" fmla="*/ 18917 h 125219"/>
                  <a:gd name="connsiteX4" fmla="*/ 3143 w 62641"/>
                  <a:gd name="connsiteY4" fmla="*/ 2949 h 125219"/>
                  <a:gd name="connsiteX5" fmla="*/ 3411 w 62641"/>
                  <a:gd name="connsiteY5" fmla="*/ 2714 h 125219"/>
                  <a:gd name="connsiteX6" fmla="*/ 20071 w 62641"/>
                  <a:gd name="connsiteY6" fmla="*/ 3564 h 125219"/>
                  <a:gd name="connsiteX7" fmla="*/ 20071 w 62641"/>
                  <a:gd name="connsiteY7" fmla="*/ 3564 h 125219"/>
                  <a:gd name="connsiteX8" fmla="*/ 59925 w 62641"/>
                  <a:gd name="connsiteY8" fmla="*/ 117246 h 125219"/>
                  <a:gd name="connsiteX9" fmla="*/ 49602 w 62641"/>
                  <a:gd name="connsiteY9" fmla="*/ 124890 h 125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641" h="125219">
                    <a:moveTo>
                      <a:pt x="49602" y="124890"/>
                    </a:moveTo>
                    <a:cubicBezTo>
                      <a:pt x="48322" y="125080"/>
                      <a:pt x="47028" y="125080"/>
                      <a:pt x="45748" y="124890"/>
                    </a:cubicBezTo>
                    <a:cubicBezTo>
                      <a:pt x="39809" y="123551"/>
                      <a:pt x="35921" y="117840"/>
                      <a:pt x="36862" y="111823"/>
                    </a:cubicBezTo>
                    <a:cubicBezTo>
                      <a:pt x="47120" y="68310"/>
                      <a:pt x="2888" y="18917"/>
                      <a:pt x="2366" y="18917"/>
                    </a:cubicBezTo>
                    <a:cubicBezTo>
                      <a:pt x="-1829" y="14291"/>
                      <a:pt x="-1483" y="7144"/>
                      <a:pt x="3143" y="2949"/>
                    </a:cubicBezTo>
                    <a:cubicBezTo>
                      <a:pt x="3228" y="2871"/>
                      <a:pt x="3319" y="2792"/>
                      <a:pt x="3411" y="2714"/>
                    </a:cubicBezTo>
                    <a:cubicBezTo>
                      <a:pt x="8311" y="-1461"/>
                      <a:pt x="15622" y="-1088"/>
                      <a:pt x="20071" y="3564"/>
                    </a:cubicBezTo>
                    <a:lnTo>
                      <a:pt x="20071" y="3564"/>
                    </a:lnTo>
                    <a:cubicBezTo>
                      <a:pt x="22293" y="5916"/>
                      <a:pt x="72992" y="62038"/>
                      <a:pt x="59925" y="117246"/>
                    </a:cubicBezTo>
                    <a:cubicBezTo>
                      <a:pt x="58331" y="121636"/>
                      <a:pt x="54267" y="124648"/>
                      <a:pt x="49602" y="124890"/>
                    </a:cubicBezTo>
                    <a:close/>
                  </a:path>
                </a:pathLst>
              </a:custGeom>
              <a:solidFill>
                <a:srgbClr val="FFFFFF"/>
              </a:solidFill>
              <a:ln w="6531" cap="flat">
                <a:noFill/>
                <a:prstDash val="solid"/>
                <a:miter/>
              </a:ln>
            </p:spPr>
            <p:txBody>
              <a:bodyPr rtlCol="0" anchor="ctr"/>
              <a:lstStyle/>
              <a:p>
                <a:endParaRPr lang="zh-CN" altLang="en-US"/>
              </a:p>
            </p:txBody>
          </p:sp>
          <p:sp>
            <p:nvSpPr>
              <p:cNvPr id="73" name="iS1îdê">
                <a:extLst>
                  <a:ext uri="{FF2B5EF4-FFF2-40B4-BE49-F238E27FC236}">
                    <a16:creationId xmlns:a16="http://schemas.microsoft.com/office/drawing/2014/main" id="{194B7B31-DF93-CBF8-1047-5D7F84B97829}"/>
                  </a:ext>
                </a:extLst>
              </p:cNvPr>
              <p:cNvSpPr/>
              <p:nvPr/>
            </p:nvSpPr>
            <p:spPr>
              <a:xfrm>
                <a:off x="5531320" y="5313097"/>
                <a:ext cx="62641" cy="125219"/>
              </a:xfrm>
              <a:custGeom>
                <a:avLst/>
                <a:gdLst>
                  <a:gd name="connsiteX0" fmla="*/ 49602 w 62641"/>
                  <a:gd name="connsiteY0" fmla="*/ 124890 h 125219"/>
                  <a:gd name="connsiteX1" fmla="*/ 45748 w 62641"/>
                  <a:gd name="connsiteY1" fmla="*/ 124890 h 125219"/>
                  <a:gd name="connsiteX2" fmla="*/ 36862 w 62641"/>
                  <a:gd name="connsiteY2" fmla="*/ 111823 h 125219"/>
                  <a:gd name="connsiteX3" fmla="*/ 2366 w 62641"/>
                  <a:gd name="connsiteY3" fmla="*/ 18917 h 125219"/>
                  <a:gd name="connsiteX4" fmla="*/ 3143 w 62641"/>
                  <a:gd name="connsiteY4" fmla="*/ 2949 h 125219"/>
                  <a:gd name="connsiteX5" fmla="*/ 3411 w 62641"/>
                  <a:gd name="connsiteY5" fmla="*/ 2714 h 125219"/>
                  <a:gd name="connsiteX6" fmla="*/ 20071 w 62641"/>
                  <a:gd name="connsiteY6" fmla="*/ 3564 h 125219"/>
                  <a:gd name="connsiteX7" fmla="*/ 20071 w 62641"/>
                  <a:gd name="connsiteY7" fmla="*/ 3564 h 125219"/>
                  <a:gd name="connsiteX8" fmla="*/ 59925 w 62641"/>
                  <a:gd name="connsiteY8" fmla="*/ 117246 h 125219"/>
                  <a:gd name="connsiteX9" fmla="*/ 49602 w 62641"/>
                  <a:gd name="connsiteY9" fmla="*/ 124890 h 125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641" h="125219">
                    <a:moveTo>
                      <a:pt x="49602" y="124890"/>
                    </a:moveTo>
                    <a:cubicBezTo>
                      <a:pt x="48322" y="125080"/>
                      <a:pt x="47028" y="125080"/>
                      <a:pt x="45748" y="124890"/>
                    </a:cubicBezTo>
                    <a:cubicBezTo>
                      <a:pt x="39809" y="123551"/>
                      <a:pt x="35921" y="117840"/>
                      <a:pt x="36862" y="111823"/>
                    </a:cubicBezTo>
                    <a:cubicBezTo>
                      <a:pt x="47120" y="68310"/>
                      <a:pt x="2888" y="18917"/>
                      <a:pt x="2366" y="18917"/>
                    </a:cubicBezTo>
                    <a:cubicBezTo>
                      <a:pt x="-1829" y="14291"/>
                      <a:pt x="-1483" y="7144"/>
                      <a:pt x="3143" y="2949"/>
                    </a:cubicBezTo>
                    <a:cubicBezTo>
                      <a:pt x="3228" y="2871"/>
                      <a:pt x="3319" y="2792"/>
                      <a:pt x="3411" y="2714"/>
                    </a:cubicBezTo>
                    <a:cubicBezTo>
                      <a:pt x="8311" y="-1461"/>
                      <a:pt x="15622" y="-1088"/>
                      <a:pt x="20071" y="3564"/>
                    </a:cubicBezTo>
                    <a:lnTo>
                      <a:pt x="20071" y="3564"/>
                    </a:lnTo>
                    <a:cubicBezTo>
                      <a:pt x="22293" y="5916"/>
                      <a:pt x="72992" y="62038"/>
                      <a:pt x="59925" y="117246"/>
                    </a:cubicBezTo>
                    <a:cubicBezTo>
                      <a:pt x="58331" y="121636"/>
                      <a:pt x="54267" y="124648"/>
                      <a:pt x="49602" y="124890"/>
                    </a:cubicBezTo>
                    <a:close/>
                  </a:path>
                </a:pathLst>
              </a:custGeom>
              <a:noFill/>
              <a:ln w="1633" cap="rnd">
                <a:solidFill>
                  <a:srgbClr val="263238"/>
                </a:solidFill>
                <a:prstDash val="solid"/>
                <a:round/>
              </a:ln>
            </p:spPr>
            <p:txBody>
              <a:bodyPr rtlCol="0" anchor="ctr"/>
              <a:lstStyle/>
              <a:p>
                <a:endParaRPr lang="zh-CN" altLang="en-US"/>
              </a:p>
            </p:txBody>
          </p:sp>
          <p:sp>
            <p:nvSpPr>
              <p:cNvPr id="74" name="iṡľïḑê">
                <a:extLst>
                  <a:ext uri="{FF2B5EF4-FFF2-40B4-BE49-F238E27FC236}">
                    <a16:creationId xmlns:a16="http://schemas.microsoft.com/office/drawing/2014/main" id="{75B37F9C-8E07-A996-13A3-3B005423C783}"/>
                  </a:ext>
                </a:extLst>
              </p:cNvPr>
              <p:cNvSpPr/>
              <p:nvPr/>
            </p:nvSpPr>
            <p:spPr>
              <a:xfrm>
                <a:off x="6256985" y="5348731"/>
                <a:ext cx="546525" cy="250891"/>
              </a:xfrm>
              <a:custGeom>
                <a:avLst/>
                <a:gdLst>
                  <a:gd name="connsiteX0" fmla="*/ 529232 w 546525"/>
                  <a:gd name="connsiteY0" fmla="*/ -187 h 250891"/>
                  <a:gd name="connsiteX1" fmla="*/ 545958 w 546525"/>
                  <a:gd name="connsiteY1" fmla="*/ 48226 h 250891"/>
                  <a:gd name="connsiteX2" fmla="*/ 391442 w 546525"/>
                  <a:gd name="connsiteY2" fmla="*/ 165241 h 250891"/>
                  <a:gd name="connsiteX3" fmla="*/ 117428 w 546525"/>
                  <a:gd name="connsiteY3" fmla="*/ 241682 h 250891"/>
                  <a:gd name="connsiteX4" fmla="*/ 14787 w 546525"/>
                  <a:gd name="connsiteY4" fmla="*/ 250698 h 250891"/>
                  <a:gd name="connsiteX5" fmla="*/ -567 w 546525"/>
                  <a:gd name="connsiteY5" fmla="*/ 232601 h 250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6525" h="250891">
                    <a:moveTo>
                      <a:pt x="529232" y="-187"/>
                    </a:moveTo>
                    <a:lnTo>
                      <a:pt x="545958" y="48226"/>
                    </a:lnTo>
                    <a:cubicBezTo>
                      <a:pt x="545958" y="48226"/>
                      <a:pt x="524529" y="137212"/>
                      <a:pt x="391442" y="165241"/>
                    </a:cubicBezTo>
                    <a:cubicBezTo>
                      <a:pt x="258355" y="193269"/>
                      <a:pt x="181717" y="231359"/>
                      <a:pt x="117428" y="241682"/>
                    </a:cubicBezTo>
                    <a:cubicBezTo>
                      <a:pt x="83565" y="247850"/>
                      <a:pt x="49205" y="250868"/>
                      <a:pt x="14787" y="250698"/>
                    </a:cubicBezTo>
                    <a:lnTo>
                      <a:pt x="-567" y="232601"/>
                    </a:lnTo>
                    <a:close/>
                  </a:path>
                </a:pathLst>
              </a:custGeom>
              <a:solidFill>
                <a:srgbClr val="FFFFFF"/>
              </a:solidFill>
              <a:ln w="6531" cap="flat">
                <a:noFill/>
                <a:prstDash val="solid"/>
                <a:miter/>
              </a:ln>
            </p:spPr>
            <p:txBody>
              <a:bodyPr rtlCol="0" anchor="ctr"/>
              <a:lstStyle/>
              <a:p>
                <a:endParaRPr lang="zh-CN" altLang="en-US"/>
              </a:p>
            </p:txBody>
          </p:sp>
          <p:sp>
            <p:nvSpPr>
              <p:cNvPr id="75" name="i$ḻîḑe">
                <a:extLst>
                  <a:ext uri="{FF2B5EF4-FFF2-40B4-BE49-F238E27FC236}">
                    <a16:creationId xmlns:a16="http://schemas.microsoft.com/office/drawing/2014/main" id="{2ABEDAC1-6705-2B4B-2BAD-27EC16EAE5FF}"/>
                  </a:ext>
                </a:extLst>
              </p:cNvPr>
              <p:cNvSpPr/>
              <p:nvPr/>
            </p:nvSpPr>
            <p:spPr>
              <a:xfrm>
                <a:off x="6256985" y="5348731"/>
                <a:ext cx="546525" cy="250891"/>
              </a:xfrm>
              <a:custGeom>
                <a:avLst/>
                <a:gdLst>
                  <a:gd name="connsiteX0" fmla="*/ 529232 w 546525"/>
                  <a:gd name="connsiteY0" fmla="*/ -187 h 250891"/>
                  <a:gd name="connsiteX1" fmla="*/ 545958 w 546525"/>
                  <a:gd name="connsiteY1" fmla="*/ 48226 h 250891"/>
                  <a:gd name="connsiteX2" fmla="*/ 391442 w 546525"/>
                  <a:gd name="connsiteY2" fmla="*/ 165241 h 250891"/>
                  <a:gd name="connsiteX3" fmla="*/ 117428 w 546525"/>
                  <a:gd name="connsiteY3" fmla="*/ 241682 h 250891"/>
                  <a:gd name="connsiteX4" fmla="*/ 14787 w 546525"/>
                  <a:gd name="connsiteY4" fmla="*/ 250698 h 250891"/>
                  <a:gd name="connsiteX5" fmla="*/ -567 w 546525"/>
                  <a:gd name="connsiteY5" fmla="*/ 232601 h 250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6525" h="250891">
                    <a:moveTo>
                      <a:pt x="529232" y="-187"/>
                    </a:moveTo>
                    <a:lnTo>
                      <a:pt x="545958" y="48226"/>
                    </a:lnTo>
                    <a:cubicBezTo>
                      <a:pt x="545958" y="48226"/>
                      <a:pt x="524529" y="137212"/>
                      <a:pt x="391442" y="165241"/>
                    </a:cubicBezTo>
                    <a:cubicBezTo>
                      <a:pt x="258355" y="193269"/>
                      <a:pt x="181717" y="231359"/>
                      <a:pt x="117428" y="241682"/>
                    </a:cubicBezTo>
                    <a:cubicBezTo>
                      <a:pt x="83565" y="247850"/>
                      <a:pt x="49205" y="250868"/>
                      <a:pt x="14787" y="250698"/>
                    </a:cubicBezTo>
                    <a:lnTo>
                      <a:pt x="-567" y="232601"/>
                    </a:lnTo>
                    <a:close/>
                  </a:path>
                </a:pathLst>
              </a:custGeom>
              <a:noFill/>
              <a:ln w="1633" cap="rnd">
                <a:solidFill>
                  <a:srgbClr val="263238"/>
                </a:solidFill>
                <a:prstDash val="solid"/>
                <a:round/>
              </a:ln>
            </p:spPr>
            <p:txBody>
              <a:bodyPr rtlCol="0" anchor="ctr"/>
              <a:lstStyle/>
              <a:p>
                <a:endParaRPr lang="zh-CN" altLang="en-US"/>
              </a:p>
            </p:txBody>
          </p:sp>
          <p:sp>
            <p:nvSpPr>
              <p:cNvPr id="76" name="ísḻïḓè">
                <a:extLst>
                  <a:ext uri="{FF2B5EF4-FFF2-40B4-BE49-F238E27FC236}">
                    <a16:creationId xmlns:a16="http://schemas.microsoft.com/office/drawing/2014/main" id="{4DF66CAF-60FA-06D6-EBA6-39EEBBC0FE88}"/>
                  </a:ext>
                </a:extLst>
              </p:cNvPr>
              <p:cNvSpPr/>
              <p:nvPr/>
            </p:nvSpPr>
            <p:spPr>
              <a:xfrm>
                <a:off x="6010542" y="5263795"/>
                <a:ext cx="788721" cy="313672"/>
              </a:xfrm>
              <a:custGeom>
                <a:avLst/>
                <a:gdLst>
                  <a:gd name="connsiteX0" fmla="*/ -567 w 788721"/>
                  <a:gd name="connsiteY0" fmla="*/ 157727 h 313672"/>
                  <a:gd name="connsiteX1" fmla="*/ 253847 w 788721"/>
                  <a:gd name="connsiteY1" fmla="*/ 313485 h 313672"/>
                  <a:gd name="connsiteX2" fmla="*/ 585617 w 788721"/>
                  <a:gd name="connsiteY2" fmla="*/ 229595 h 313672"/>
                  <a:gd name="connsiteX3" fmla="*/ 788154 w 788721"/>
                  <a:gd name="connsiteY3" fmla="*/ 96835 h 313672"/>
                  <a:gd name="connsiteX4" fmla="*/ 606001 w 788721"/>
                  <a:gd name="connsiteY4" fmla="*/ 21700 h 313672"/>
                  <a:gd name="connsiteX5" fmla="*/ 550467 w 788721"/>
                  <a:gd name="connsiteY5" fmla="*/ 31174 h 313672"/>
                  <a:gd name="connsiteX6" fmla="*/ 187532 w 788721"/>
                  <a:gd name="connsiteY6" fmla="*/ -187 h 313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8721" h="313672">
                    <a:moveTo>
                      <a:pt x="-567" y="157727"/>
                    </a:moveTo>
                    <a:lnTo>
                      <a:pt x="253847" y="313485"/>
                    </a:lnTo>
                    <a:cubicBezTo>
                      <a:pt x="366059" y="292369"/>
                      <a:pt x="476834" y="264353"/>
                      <a:pt x="585617" y="229595"/>
                    </a:cubicBezTo>
                    <a:cubicBezTo>
                      <a:pt x="694203" y="192942"/>
                      <a:pt x="788154" y="146882"/>
                      <a:pt x="788154" y="96835"/>
                    </a:cubicBezTo>
                    <a:cubicBezTo>
                      <a:pt x="788154" y="20785"/>
                      <a:pt x="703545" y="8764"/>
                      <a:pt x="606001" y="21700"/>
                    </a:cubicBezTo>
                    <a:cubicBezTo>
                      <a:pt x="587838" y="24052"/>
                      <a:pt x="569218" y="27319"/>
                      <a:pt x="550467" y="31174"/>
                    </a:cubicBezTo>
                    <a:cubicBezTo>
                      <a:pt x="395689" y="63841"/>
                      <a:pt x="187532" y="-187"/>
                      <a:pt x="187532" y="-187"/>
                    </a:cubicBezTo>
                    <a:close/>
                  </a:path>
                </a:pathLst>
              </a:custGeom>
              <a:solidFill>
                <a:srgbClr val="263238"/>
              </a:solidFill>
              <a:ln w="6531" cap="flat">
                <a:noFill/>
                <a:prstDash val="solid"/>
                <a:miter/>
              </a:ln>
            </p:spPr>
            <p:txBody>
              <a:bodyPr rtlCol="0" anchor="ctr"/>
              <a:lstStyle/>
              <a:p>
                <a:endParaRPr lang="zh-CN" altLang="en-US"/>
              </a:p>
            </p:txBody>
          </p:sp>
          <p:sp>
            <p:nvSpPr>
              <p:cNvPr id="77" name="i$ľíḍê">
                <a:extLst>
                  <a:ext uri="{FF2B5EF4-FFF2-40B4-BE49-F238E27FC236}">
                    <a16:creationId xmlns:a16="http://schemas.microsoft.com/office/drawing/2014/main" id="{D6957E92-5861-5F52-9B4D-A1F17BC6BE56}"/>
                  </a:ext>
                </a:extLst>
              </p:cNvPr>
              <p:cNvSpPr/>
              <p:nvPr/>
            </p:nvSpPr>
            <p:spPr>
              <a:xfrm>
                <a:off x="6006165" y="5268107"/>
                <a:ext cx="448261" cy="250885"/>
              </a:xfrm>
              <a:custGeom>
                <a:avLst/>
                <a:gdLst>
                  <a:gd name="connsiteX0" fmla="*/ -567 w 448261"/>
                  <a:gd name="connsiteY0" fmla="*/ 158054 h 250885"/>
                  <a:gd name="connsiteX1" fmla="*/ 147155 w 448261"/>
                  <a:gd name="connsiteY1" fmla="*/ 250699 h 250885"/>
                  <a:gd name="connsiteX2" fmla="*/ 447695 w 448261"/>
                  <a:gd name="connsiteY2" fmla="*/ 40713 h 250885"/>
                  <a:gd name="connsiteX3" fmla="*/ 184853 w 448261"/>
                  <a:gd name="connsiteY3" fmla="*/ -187 h 250885"/>
                </a:gdLst>
                <a:ahLst/>
                <a:cxnLst>
                  <a:cxn ang="0">
                    <a:pos x="connsiteX0" y="connsiteY0"/>
                  </a:cxn>
                  <a:cxn ang="0">
                    <a:pos x="connsiteX1" y="connsiteY1"/>
                  </a:cxn>
                  <a:cxn ang="0">
                    <a:pos x="connsiteX2" y="connsiteY2"/>
                  </a:cxn>
                  <a:cxn ang="0">
                    <a:pos x="connsiteX3" y="connsiteY3"/>
                  </a:cxn>
                </a:cxnLst>
                <a:rect l="l" t="t" r="r" b="b"/>
                <a:pathLst>
                  <a:path w="448261" h="250885">
                    <a:moveTo>
                      <a:pt x="-567" y="158054"/>
                    </a:moveTo>
                    <a:lnTo>
                      <a:pt x="147155" y="250699"/>
                    </a:lnTo>
                    <a:cubicBezTo>
                      <a:pt x="266855" y="213915"/>
                      <a:pt x="371985" y="140459"/>
                      <a:pt x="447695" y="40713"/>
                    </a:cubicBezTo>
                    <a:cubicBezTo>
                      <a:pt x="358657" y="38739"/>
                      <a:pt x="270279" y="24987"/>
                      <a:pt x="184853" y="-187"/>
                    </a:cubicBezTo>
                    <a:close/>
                  </a:path>
                </a:pathLst>
              </a:custGeom>
              <a:solidFill>
                <a:srgbClr val="000000">
                  <a:alpha val="70000"/>
                </a:srgbClr>
              </a:solidFill>
              <a:ln w="6531" cap="flat">
                <a:noFill/>
                <a:prstDash val="solid"/>
                <a:miter/>
              </a:ln>
            </p:spPr>
            <p:txBody>
              <a:bodyPr rtlCol="0" anchor="ctr"/>
              <a:lstStyle/>
              <a:p>
                <a:endParaRPr lang="zh-CN" altLang="en-US"/>
              </a:p>
            </p:txBody>
          </p:sp>
          <p:sp>
            <p:nvSpPr>
              <p:cNvPr id="78" name="îṥļîḋé">
                <a:extLst>
                  <a:ext uri="{FF2B5EF4-FFF2-40B4-BE49-F238E27FC236}">
                    <a16:creationId xmlns:a16="http://schemas.microsoft.com/office/drawing/2014/main" id="{38809C9B-2F49-0526-0219-3BDF9B311DDB}"/>
                  </a:ext>
                </a:extLst>
              </p:cNvPr>
              <p:cNvSpPr/>
              <p:nvPr/>
            </p:nvSpPr>
            <p:spPr>
              <a:xfrm>
                <a:off x="6006165" y="5268107"/>
                <a:ext cx="448261" cy="250885"/>
              </a:xfrm>
              <a:custGeom>
                <a:avLst/>
                <a:gdLst>
                  <a:gd name="connsiteX0" fmla="*/ -567 w 448261"/>
                  <a:gd name="connsiteY0" fmla="*/ 158054 h 250885"/>
                  <a:gd name="connsiteX1" fmla="*/ 147155 w 448261"/>
                  <a:gd name="connsiteY1" fmla="*/ 250699 h 250885"/>
                  <a:gd name="connsiteX2" fmla="*/ 447695 w 448261"/>
                  <a:gd name="connsiteY2" fmla="*/ 40713 h 250885"/>
                  <a:gd name="connsiteX3" fmla="*/ 184853 w 448261"/>
                  <a:gd name="connsiteY3" fmla="*/ -187 h 250885"/>
                </a:gdLst>
                <a:ahLst/>
                <a:cxnLst>
                  <a:cxn ang="0">
                    <a:pos x="connsiteX0" y="connsiteY0"/>
                  </a:cxn>
                  <a:cxn ang="0">
                    <a:pos x="connsiteX1" y="connsiteY1"/>
                  </a:cxn>
                  <a:cxn ang="0">
                    <a:pos x="connsiteX2" y="connsiteY2"/>
                  </a:cxn>
                  <a:cxn ang="0">
                    <a:pos x="connsiteX3" y="connsiteY3"/>
                  </a:cxn>
                </a:cxnLst>
                <a:rect l="l" t="t" r="r" b="b"/>
                <a:pathLst>
                  <a:path w="448261" h="250885">
                    <a:moveTo>
                      <a:pt x="-567" y="158054"/>
                    </a:moveTo>
                    <a:lnTo>
                      <a:pt x="147155" y="250699"/>
                    </a:lnTo>
                    <a:cubicBezTo>
                      <a:pt x="266848" y="213896"/>
                      <a:pt x="371972" y="140446"/>
                      <a:pt x="447695" y="40713"/>
                    </a:cubicBezTo>
                    <a:cubicBezTo>
                      <a:pt x="358657" y="38739"/>
                      <a:pt x="270279" y="24987"/>
                      <a:pt x="184853" y="-187"/>
                    </a:cubicBezTo>
                    <a:close/>
                  </a:path>
                </a:pathLst>
              </a:custGeom>
              <a:noFill/>
              <a:ln w="1633" cap="flat">
                <a:solidFill>
                  <a:srgbClr val="000000"/>
                </a:solidFill>
                <a:prstDash val="solid"/>
                <a:miter/>
              </a:ln>
            </p:spPr>
            <p:txBody>
              <a:bodyPr rtlCol="0" anchor="ctr"/>
              <a:lstStyle/>
              <a:p>
                <a:endParaRPr lang="zh-CN" altLang="en-US"/>
              </a:p>
            </p:txBody>
          </p:sp>
          <p:sp>
            <p:nvSpPr>
              <p:cNvPr id="79" name="îşliḓé">
                <a:extLst>
                  <a:ext uri="{FF2B5EF4-FFF2-40B4-BE49-F238E27FC236}">
                    <a16:creationId xmlns:a16="http://schemas.microsoft.com/office/drawing/2014/main" id="{19819861-249A-131C-6CE6-0FB0A8AA0B74}"/>
                  </a:ext>
                </a:extLst>
              </p:cNvPr>
              <p:cNvSpPr/>
              <p:nvPr/>
            </p:nvSpPr>
            <p:spPr>
              <a:xfrm>
                <a:off x="6006165" y="5268107"/>
                <a:ext cx="788655" cy="313606"/>
              </a:xfrm>
              <a:custGeom>
                <a:avLst/>
                <a:gdLst>
                  <a:gd name="connsiteX0" fmla="*/ -567 w 788655"/>
                  <a:gd name="connsiteY0" fmla="*/ 157662 h 313606"/>
                  <a:gd name="connsiteX1" fmla="*/ 253847 w 788655"/>
                  <a:gd name="connsiteY1" fmla="*/ 313420 h 313606"/>
                  <a:gd name="connsiteX2" fmla="*/ 585551 w 788655"/>
                  <a:gd name="connsiteY2" fmla="*/ 229530 h 313606"/>
                  <a:gd name="connsiteX3" fmla="*/ 788089 w 788655"/>
                  <a:gd name="connsiteY3" fmla="*/ 96835 h 313606"/>
                  <a:gd name="connsiteX4" fmla="*/ 606001 w 788655"/>
                  <a:gd name="connsiteY4" fmla="*/ 21635 h 313606"/>
                  <a:gd name="connsiteX5" fmla="*/ 550401 w 788655"/>
                  <a:gd name="connsiteY5" fmla="*/ 31109 h 313606"/>
                  <a:gd name="connsiteX6" fmla="*/ 187532 w 788655"/>
                  <a:gd name="connsiteY6" fmla="*/ -187 h 313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8655" h="313606">
                    <a:moveTo>
                      <a:pt x="-567" y="157662"/>
                    </a:moveTo>
                    <a:lnTo>
                      <a:pt x="253847" y="313420"/>
                    </a:lnTo>
                    <a:cubicBezTo>
                      <a:pt x="366040" y="292330"/>
                      <a:pt x="476834" y="264308"/>
                      <a:pt x="585551" y="229530"/>
                    </a:cubicBezTo>
                    <a:cubicBezTo>
                      <a:pt x="694137" y="192942"/>
                      <a:pt x="788089" y="146882"/>
                      <a:pt x="788089" y="96835"/>
                    </a:cubicBezTo>
                    <a:cubicBezTo>
                      <a:pt x="788089" y="20720"/>
                      <a:pt x="703546" y="8764"/>
                      <a:pt x="606001" y="21635"/>
                    </a:cubicBezTo>
                    <a:cubicBezTo>
                      <a:pt x="587772" y="24052"/>
                      <a:pt x="569152" y="27319"/>
                      <a:pt x="550401" y="31109"/>
                    </a:cubicBezTo>
                    <a:cubicBezTo>
                      <a:pt x="395689" y="63776"/>
                      <a:pt x="187532" y="-187"/>
                      <a:pt x="187532" y="-187"/>
                    </a:cubicBezTo>
                    <a:close/>
                  </a:path>
                </a:pathLst>
              </a:custGeom>
              <a:noFill/>
              <a:ln w="1633" cap="rnd">
                <a:solidFill>
                  <a:srgbClr val="263238"/>
                </a:solidFill>
                <a:prstDash val="solid"/>
                <a:round/>
              </a:ln>
            </p:spPr>
            <p:txBody>
              <a:bodyPr rtlCol="0" anchor="ctr"/>
              <a:lstStyle/>
              <a:p>
                <a:endParaRPr lang="zh-CN" altLang="en-US"/>
              </a:p>
            </p:txBody>
          </p:sp>
          <p:sp>
            <p:nvSpPr>
              <p:cNvPr id="80" name="íṣ1íďe">
                <a:extLst>
                  <a:ext uri="{FF2B5EF4-FFF2-40B4-BE49-F238E27FC236}">
                    <a16:creationId xmlns:a16="http://schemas.microsoft.com/office/drawing/2014/main" id="{87DA2199-CE1E-2A08-4C49-DAA5DDD2F288}"/>
                  </a:ext>
                </a:extLst>
              </p:cNvPr>
              <p:cNvSpPr/>
              <p:nvPr/>
            </p:nvSpPr>
            <p:spPr>
              <a:xfrm>
                <a:off x="6561586" y="5286004"/>
                <a:ext cx="232972" cy="215021"/>
              </a:xfrm>
              <a:custGeom>
                <a:avLst/>
                <a:gdLst>
                  <a:gd name="connsiteX0" fmla="*/ 26863 w 232972"/>
                  <a:gd name="connsiteY0" fmla="*/ 214835 h 215021"/>
                  <a:gd name="connsiteX1" fmla="*/ 232406 w 232972"/>
                  <a:gd name="connsiteY1" fmla="*/ 80507 h 215021"/>
                  <a:gd name="connsiteX2" fmla="*/ 47443 w 232972"/>
                  <a:gd name="connsiteY2" fmla="*/ 4326 h 215021"/>
                  <a:gd name="connsiteX3" fmla="*/ 26863 w 232972"/>
                  <a:gd name="connsiteY3" fmla="*/ 214835 h 215021"/>
                </a:gdLst>
                <a:ahLst/>
                <a:cxnLst>
                  <a:cxn ang="0">
                    <a:pos x="connsiteX0" y="connsiteY0"/>
                  </a:cxn>
                  <a:cxn ang="0">
                    <a:pos x="connsiteX1" y="connsiteY1"/>
                  </a:cxn>
                  <a:cxn ang="0">
                    <a:pos x="connsiteX2" y="connsiteY2"/>
                  </a:cxn>
                  <a:cxn ang="0">
                    <a:pos x="connsiteX3" y="connsiteY3"/>
                  </a:cxn>
                </a:cxnLst>
                <a:rect l="l" t="t" r="r" b="b"/>
                <a:pathLst>
                  <a:path w="232972" h="215021">
                    <a:moveTo>
                      <a:pt x="26863" y="214835"/>
                    </a:moveTo>
                    <a:cubicBezTo>
                      <a:pt x="137213" y="177790"/>
                      <a:pt x="232406" y="131141"/>
                      <a:pt x="232406" y="80507"/>
                    </a:cubicBezTo>
                    <a:cubicBezTo>
                      <a:pt x="232406" y="3412"/>
                      <a:pt x="146491" y="-8675"/>
                      <a:pt x="47443" y="4326"/>
                    </a:cubicBezTo>
                    <a:cubicBezTo>
                      <a:pt x="43066" y="8900"/>
                      <a:pt x="-43437" y="109384"/>
                      <a:pt x="26863" y="214835"/>
                    </a:cubicBezTo>
                    <a:close/>
                  </a:path>
                </a:pathLst>
              </a:custGeom>
              <a:solidFill>
                <a:srgbClr val="FFFFFF"/>
              </a:solidFill>
              <a:ln w="6531" cap="flat">
                <a:noFill/>
                <a:prstDash val="solid"/>
                <a:miter/>
              </a:ln>
            </p:spPr>
            <p:txBody>
              <a:bodyPr rtlCol="0" anchor="ctr"/>
              <a:lstStyle/>
              <a:p>
                <a:endParaRPr lang="zh-CN" altLang="en-US"/>
              </a:p>
            </p:txBody>
          </p:sp>
          <p:sp>
            <p:nvSpPr>
              <p:cNvPr id="81" name="ïşḻîdê">
                <a:extLst>
                  <a:ext uri="{FF2B5EF4-FFF2-40B4-BE49-F238E27FC236}">
                    <a16:creationId xmlns:a16="http://schemas.microsoft.com/office/drawing/2014/main" id="{9CDDB62E-D8FA-9590-4193-F0A644C53AEE}"/>
                  </a:ext>
                </a:extLst>
              </p:cNvPr>
              <p:cNvSpPr/>
              <p:nvPr/>
            </p:nvSpPr>
            <p:spPr>
              <a:xfrm>
                <a:off x="6561586" y="5286004"/>
                <a:ext cx="232972" cy="215021"/>
              </a:xfrm>
              <a:custGeom>
                <a:avLst/>
                <a:gdLst>
                  <a:gd name="connsiteX0" fmla="*/ 26863 w 232972"/>
                  <a:gd name="connsiteY0" fmla="*/ 214835 h 215021"/>
                  <a:gd name="connsiteX1" fmla="*/ 232406 w 232972"/>
                  <a:gd name="connsiteY1" fmla="*/ 80507 h 215021"/>
                  <a:gd name="connsiteX2" fmla="*/ 47443 w 232972"/>
                  <a:gd name="connsiteY2" fmla="*/ 4326 h 215021"/>
                  <a:gd name="connsiteX3" fmla="*/ 26863 w 232972"/>
                  <a:gd name="connsiteY3" fmla="*/ 214835 h 215021"/>
                </a:gdLst>
                <a:ahLst/>
                <a:cxnLst>
                  <a:cxn ang="0">
                    <a:pos x="connsiteX0" y="connsiteY0"/>
                  </a:cxn>
                  <a:cxn ang="0">
                    <a:pos x="connsiteX1" y="connsiteY1"/>
                  </a:cxn>
                  <a:cxn ang="0">
                    <a:pos x="connsiteX2" y="connsiteY2"/>
                  </a:cxn>
                  <a:cxn ang="0">
                    <a:pos x="connsiteX3" y="connsiteY3"/>
                  </a:cxn>
                </a:cxnLst>
                <a:rect l="l" t="t" r="r" b="b"/>
                <a:pathLst>
                  <a:path w="232972" h="215021">
                    <a:moveTo>
                      <a:pt x="26863" y="214835"/>
                    </a:moveTo>
                    <a:cubicBezTo>
                      <a:pt x="137213" y="177790"/>
                      <a:pt x="232406" y="131141"/>
                      <a:pt x="232406" y="80507"/>
                    </a:cubicBezTo>
                    <a:cubicBezTo>
                      <a:pt x="232406" y="3412"/>
                      <a:pt x="146491" y="-8675"/>
                      <a:pt x="47443" y="4326"/>
                    </a:cubicBezTo>
                    <a:cubicBezTo>
                      <a:pt x="43066" y="8900"/>
                      <a:pt x="-43437" y="109384"/>
                      <a:pt x="26863" y="214835"/>
                    </a:cubicBezTo>
                    <a:close/>
                  </a:path>
                </a:pathLst>
              </a:custGeom>
              <a:noFill/>
              <a:ln w="1633" cap="rnd">
                <a:solidFill>
                  <a:srgbClr val="263238"/>
                </a:solidFill>
                <a:prstDash val="solid"/>
                <a:round/>
              </a:ln>
            </p:spPr>
            <p:txBody>
              <a:bodyPr rtlCol="0" anchor="ctr"/>
              <a:lstStyle/>
              <a:p>
                <a:endParaRPr lang="zh-CN" altLang="en-US"/>
              </a:p>
            </p:txBody>
          </p:sp>
          <p:sp>
            <p:nvSpPr>
              <p:cNvPr id="82" name="îṡlîḋê">
                <a:extLst>
                  <a:ext uri="{FF2B5EF4-FFF2-40B4-BE49-F238E27FC236}">
                    <a16:creationId xmlns:a16="http://schemas.microsoft.com/office/drawing/2014/main" id="{D3514415-D943-3E1D-D1A5-08AEB4E2A52E}"/>
                  </a:ext>
                </a:extLst>
              </p:cNvPr>
              <p:cNvSpPr/>
              <p:nvPr/>
            </p:nvSpPr>
            <p:spPr>
              <a:xfrm>
                <a:off x="6490089" y="5285877"/>
                <a:ext cx="53682" cy="125575"/>
              </a:xfrm>
              <a:custGeom>
                <a:avLst/>
                <a:gdLst>
                  <a:gd name="connsiteX0" fmla="*/ 10158 w 53682"/>
                  <a:gd name="connsiteY0" fmla="*/ 125388 h 125575"/>
                  <a:gd name="connsiteX1" fmla="*/ 10812 w 53682"/>
                  <a:gd name="connsiteY1" fmla="*/ 125388 h 125575"/>
                  <a:gd name="connsiteX2" fmla="*/ 21200 w 53682"/>
                  <a:gd name="connsiteY2" fmla="*/ 112909 h 125575"/>
                  <a:gd name="connsiteX3" fmla="*/ 49882 w 53682"/>
                  <a:gd name="connsiteY3" fmla="*/ 19938 h 125575"/>
                  <a:gd name="connsiteX4" fmla="*/ 49882 w 53682"/>
                  <a:gd name="connsiteY4" fmla="*/ 3277 h 125575"/>
                  <a:gd name="connsiteX5" fmla="*/ 35116 w 53682"/>
                  <a:gd name="connsiteY5" fmla="*/ 2493 h 125575"/>
                  <a:gd name="connsiteX6" fmla="*/ 34332 w 53682"/>
                  <a:gd name="connsiteY6" fmla="*/ 3277 h 125575"/>
                  <a:gd name="connsiteX7" fmla="*/ 32895 w 53682"/>
                  <a:gd name="connsiteY7" fmla="*/ 5172 h 125575"/>
                  <a:gd name="connsiteX8" fmla="*/ -557 w 53682"/>
                  <a:gd name="connsiteY8" fmla="*/ 113628 h 125575"/>
                  <a:gd name="connsiteX9" fmla="*/ 10158 w 53682"/>
                  <a:gd name="connsiteY9" fmla="*/ 125388 h 125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3682" h="125575">
                    <a:moveTo>
                      <a:pt x="10158" y="125388"/>
                    </a:moveTo>
                    <a:lnTo>
                      <a:pt x="10812" y="125388"/>
                    </a:lnTo>
                    <a:cubicBezTo>
                      <a:pt x="17084" y="124702"/>
                      <a:pt x="21657" y="119188"/>
                      <a:pt x="21200" y="112909"/>
                    </a:cubicBezTo>
                    <a:cubicBezTo>
                      <a:pt x="21330" y="79758"/>
                      <a:pt x="31327" y="47392"/>
                      <a:pt x="49882" y="19938"/>
                    </a:cubicBezTo>
                    <a:cubicBezTo>
                      <a:pt x="54194" y="15221"/>
                      <a:pt x="54194" y="7995"/>
                      <a:pt x="49882" y="3277"/>
                    </a:cubicBezTo>
                    <a:cubicBezTo>
                      <a:pt x="46027" y="-1015"/>
                      <a:pt x="39428" y="-1368"/>
                      <a:pt x="35116" y="2493"/>
                    </a:cubicBezTo>
                    <a:cubicBezTo>
                      <a:pt x="34855" y="2742"/>
                      <a:pt x="34594" y="3003"/>
                      <a:pt x="34332" y="3277"/>
                    </a:cubicBezTo>
                    <a:cubicBezTo>
                      <a:pt x="33810" y="3846"/>
                      <a:pt x="33287" y="4486"/>
                      <a:pt x="32895" y="5172"/>
                    </a:cubicBezTo>
                    <a:cubicBezTo>
                      <a:pt x="10877" y="37030"/>
                      <a:pt x="-818" y="74898"/>
                      <a:pt x="-557" y="113628"/>
                    </a:cubicBezTo>
                    <a:cubicBezTo>
                      <a:pt x="-818" y="119822"/>
                      <a:pt x="3952" y="125068"/>
                      <a:pt x="10158" y="125388"/>
                    </a:cubicBezTo>
                    <a:close/>
                  </a:path>
                </a:pathLst>
              </a:custGeom>
              <a:solidFill>
                <a:srgbClr val="FFFFFF"/>
              </a:solidFill>
              <a:ln w="6531" cap="flat">
                <a:noFill/>
                <a:prstDash val="solid"/>
                <a:miter/>
              </a:ln>
            </p:spPr>
            <p:txBody>
              <a:bodyPr rtlCol="0" anchor="ctr"/>
              <a:lstStyle/>
              <a:p>
                <a:endParaRPr lang="zh-CN" altLang="en-US"/>
              </a:p>
            </p:txBody>
          </p:sp>
          <p:sp>
            <p:nvSpPr>
              <p:cNvPr id="83" name="íṧ1îḋe">
                <a:extLst>
                  <a:ext uri="{FF2B5EF4-FFF2-40B4-BE49-F238E27FC236}">
                    <a16:creationId xmlns:a16="http://schemas.microsoft.com/office/drawing/2014/main" id="{14039863-D5AF-9DED-AEF1-9293B67E9648}"/>
                  </a:ext>
                </a:extLst>
              </p:cNvPr>
              <p:cNvSpPr/>
              <p:nvPr/>
            </p:nvSpPr>
            <p:spPr>
              <a:xfrm>
                <a:off x="6490089" y="5285877"/>
                <a:ext cx="53682" cy="125575"/>
              </a:xfrm>
              <a:custGeom>
                <a:avLst/>
                <a:gdLst>
                  <a:gd name="connsiteX0" fmla="*/ 10158 w 53682"/>
                  <a:gd name="connsiteY0" fmla="*/ 125388 h 125575"/>
                  <a:gd name="connsiteX1" fmla="*/ 10812 w 53682"/>
                  <a:gd name="connsiteY1" fmla="*/ 125388 h 125575"/>
                  <a:gd name="connsiteX2" fmla="*/ 21200 w 53682"/>
                  <a:gd name="connsiteY2" fmla="*/ 112909 h 125575"/>
                  <a:gd name="connsiteX3" fmla="*/ 49882 w 53682"/>
                  <a:gd name="connsiteY3" fmla="*/ 19938 h 125575"/>
                  <a:gd name="connsiteX4" fmla="*/ 49882 w 53682"/>
                  <a:gd name="connsiteY4" fmla="*/ 3277 h 125575"/>
                  <a:gd name="connsiteX5" fmla="*/ 35116 w 53682"/>
                  <a:gd name="connsiteY5" fmla="*/ 2493 h 125575"/>
                  <a:gd name="connsiteX6" fmla="*/ 34332 w 53682"/>
                  <a:gd name="connsiteY6" fmla="*/ 3277 h 125575"/>
                  <a:gd name="connsiteX7" fmla="*/ 32895 w 53682"/>
                  <a:gd name="connsiteY7" fmla="*/ 5172 h 125575"/>
                  <a:gd name="connsiteX8" fmla="*/ -557 w 53682"/>
                  <a:gd name="connsiteY8" fmla="*/ 113628 h 125575"/>
                  <a:gd name="connsiteX9" fmla="*/ 10158 w 53682"/>
                  <a:gd name="connsiteY9" fmla="*/ 125388 h 125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3682" h="125575">
                    <a:moveTo>
                      <a:pt x="10158" y="125388"/>
                    </a:moveTo>
                    <a:lnTo>
                      <a:pt x="10812" y="125388"/>
                    </a:lnTo>
                    <a:cubicBezTo>
                      <a:pt x="17084" y="124702"/>
                      <a:pt x="21657" y="119188"/>
                      <a:pt x="21200" y="112909"/>
                    </a:cubicBezTo>
                    <a:cubicBezTo>
                      <a:pt x="21330" y="79758"/>
                      <a:pt x="31327" y="47392"/>
                      <a:pt x="49882" y="19938"/>
                    </a:cubicBezTo>
                    <a:cubicBezTo>
                      <a:pt x="54194" y="15221"/>
                      <a:pt x="54194" y="7995"/>
                      <a:pt x="49882" y="3277"/>
                    </a:cubicBezTo>
                    <a:cubicBezTo>
                      <a:pt x="46027" y="-1015"/>
                      <a:pt x="39428" y="-1368"/>
                      <a:pt x="35116" y="2493"/>
                    </a:cubicBezTo>
                    <a:cubicBezTo>
                      <a:pt x="34855" y="2742"/>
                      <a:pt x="34594" y="3003"/>
                      <a:pt x="34332" y="3277"/>
                    </a:cubicBezTo>
                    <a:cubicBezTo>
                      <a:pt x="33810" y="3846"/>
                      <a:pt x="33287" y="4486"/>
                      <a:pt x="32895" y="5172"/>
                    </a:cubicBezTo>
                    <a:cubicBezTo>
                      <a:pt x="10877" y="37030"/>
                      <a:pt x="-818" y="74898"/>
                      <a:pt x="-557" y="113628"/>
                    </a:cubicBezTo>
                    <a:cubicBezTo>
                      <a:pt x="-818" y="119822"/>
                      <a:pt x="3952" y="125068"/>
                      <a:pt x="10158" y="125388"/>
                    </a:cubicBezTo>
                    <a:close/>
                  </a:path>
                </a:pathLst>
              </a:custGeom>
              <a:noFill/>
              <a:ln w="1633" cap="rnd">
                <a:solidFill>
                  <a:srgbClr val="263238"/>
                </a:solidFill>
                <a:prstDash val="solid"/>
                <a:round/>
              </a:ln>
            </p:spPr>
            <p:txBody>
              <a:bodyPr rtlCol="0" anchor="ctr"/>
              <a:lstStyle/>
              <a:p>
                <a:endParaRPr lang="zh-CN" altLang="en-US"/>
              </a:p>
            </p:txBody>
          </p:sp>
          <p:sp>
            <p:nvSpPr>
              <p:cNvPr id="84" name="íṥḻidé">
                <a:extLst>
                  <a:ext uri="{FF2B5EF4-FFF2-40B4-BE49-F238E27FC236}">
                    <a16:creationId xmlns:a16="http://schemas.microsoft.com/office/drawing/2014/main" id="{152658A1-A799-F76D-4826-9804528FB187}"/>
                  </a:ext>
                </a:extLst>
              </p:cNvPr>
              <p:cNvSpPr/>
              <p:nvPr/>
            </p:nvSpPr>
            <p:spPr>
              <a:xfrm>
                <a:off x="6445145" y="5295022"/>
                <a:ext cx="53731" cy="125383"/>
              </a:xfrm>
              <a:custGeom>
                <a:avLst/>
                <a:gdLst>
                  <a:gd name="connsiteX0" fmla="*/ 11720 w 53731"/>
                  <a:gd name="connsiteY0" fmla="*/ 125194 h 125383"/>
                  <a:gd name="connsiteX1" fmla="*/ 12831 w 53731"/>
                  <a:gd name="connsiteY1" fmla="*/ 125194 h 125383"/>
                  <a:gd name="connsiteX2" fmla="*/ 24003 w 53731"/>
                  <a:gd name="connsiteY2" fmla="*/ 112754 h 125383"/>
                  <a:gd name="connsiteX3" fmla="*/ 24003 w 53731"/>
                  <a:gd name="connsiteY3" fmla="*/ 112650 h 125383"/>
                  <a:gd name="connsiteX4" fmla="*/ 50987 w 53731"/>
                  <a:gd name="connsiteY4" fmla="*/ 18110 h 125383"/>
                  <a:gd name="connsiteX5" fmla="*/ 48569 w 53731"/>
                  <a:gd name="connsiteY5" fmla="*/ 2312 h 125383"/>
                  <a:gd name="connsiteX6" fmla="*/ 47850 w 53731"/>
                  <a:gd name="connsiteY6" fmla="*/ 1842 h 125383"/>
                  <a:gd name="connsiteX7" fmla="*/ 30602 w 53731"/>
                  <a:gd name="connsiteY7" fmla="*/ 4782 h 125383"/>
                  <a:gd name="connsiteX8" fmla="*/ -432 w 53731"/>
                  <a:gd name="connsiteY8" fmla="*/ 114152 h 125383"/>
                  <a:gd name="connsiteX9" fmla="*/ 11720 w 53731"/>
                  <a:gd name="connsiteY9" fmla="*/ 125194 h 125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3731" h="125383">
                    <a:moveTo>
                      <a:pt x="11720" y="125194"/>
                    </a:moveTo>
                    <a:lnTo>
                      <a:pt x="12831" y="125194"/>
                    </a:lnTo>
                    <a:cubicBezTo>
                      <a:pt x="19365" y="124848"/>
                      <a:pt x="24330" y="119274"/>
                      <a:pt x="24003" y="112754"/>
                    </a:cubicBezTo>
                    <a:cubicBezTo>
                      <a:pt x="24003" y="112721"/>
                      <a:pt x="24003" y="112682"/>
                      <a:pt x="24003" y="112650"/>
                    </a:cubicBezTo>
                    <a:cubicBezTo>
                      <a:pt x="23023" y="79107"/>
                      <a:pt x="32431" y="46087"/>
                      <a:pt x="50987" y="18110"/>
                    </a:cubicBezTo>
                    <a:cubicBezTo>
                      <a:pt x="54645" y="13073"/>
                      <a:pt x="53600" y="6004"/>
                      <a:pt x="48569" y="2312"/>
                    </a:cubicBezTo>
                    <a:cubicBezTo>
                      <a:pt x="48308" y="2149"/>
                      <a:pt x="48112" y="1992"/>
                      <a:pt x="47850" y="1842"/>
                    </a:cubicBezTo>
                    <a:cubicBezTo>
                      <a:pt x="42166" y="-1738"/>
                      <a:pt x="34718" y="-471"/>
                      <a:pt x="30602" y="4782"/>
                    </a:cubicBezTo>
                    <a:cubicBezTo>
                      <a:pt x="8944" y="37038"/>
                      <a:pt x="-1921" y="75331"/>
                      <a:pt x="-432" y="114152"/>
                    </a:cubicBezTo>
                    <a:cubicBezTo>
                      <a:pt x="52" y="120470"/>
                      <a:pt x="5383" y="125318"/>
                      <a:pt x="11720" y="125194"/>
                    </a:cubicBezTo>
                    <a:close/>
                  </a:path>
                </a:pathLst>
              </a:custGeom>
              <a:solidFill>
                <a:srgbClr val="FFFFFF"/>
              </a:solidFill>
              <a:ln w="6531" cap="flat">
                <a:noFill/>
                <a:prstDash val="solid"/>
                <a:miter/>
              </a:ln>
            </p:spPr>
            <p:txBody>
              <a:bodyPr rtlCol="0" anchor="ctr"/>
              <a:lstStyle/>
              <a:p>
                <a:endParaRPr lang="zh-CN" altLang="en-US"/>
              </a:p>
            </p:txBody>
          </p:sp>
          <p:sp>
            <p:nvSpPr>
              <p:cNvPr id="85" name="iślíḑe">
                <a:extLst>
                  <a:ext uri="{FF2B5EF4-FFF2-40B4-BE49-F238E27FC236}">
                    <a16:creationId xmlns:a16="http://schemas.microsoft.com/office/drawing/2014/main" id="{1326DDF3-A94C-0FBC-E070-4B85916526FF}"/>
                  </a:ext>
                </a:extLst>
              </p:cNvPr>
              <p:cNvSpPr/>
              <p:nvPr/>
            </p:nvSpPr>
            <p:spPr>
              <a:xfrm>
                <a:off x="6445145" y="5295022"/>
                <a:ext cx="53731" cy="125383"/>
              </a:xfrm>
              <a:custGeom>
                <a:avLst/>
                <a:gdLst>
                  <a:gd name="connsiteX0" fmla="*/ 11720 w 53731"/>
                  <a:gd name="connsiteY0" fmla="*/ 125194 h 125383"/>
                  <a:gd name="connsiteX1" fmla="*/ 12831 w 53731"/>
                  <a:gd name="connsiteY1" fmla="*/ 125194 h 125383"/>
                  <a:gd name="connsiteX2" fmla="*/ 24003 w 53731"/>
                  <a:gd name="connsiteY2" fmla="*/ 112754 h 125383"/>
                  <a:gd name="connsiteX3" fmla="*/ 24003 w 53731"/>
                  <a:gd name="connsiteY3" fmla="*/ 112650 h 125383"/>
                  <a:gd name="connsiteX4" fmla="*/ 50987 w 53731"/>
                  <a:gd name="connsiteY4" fmla="*/ 18110 h 125383"/>
                  <a:gd name="connsiteX5" fmla="*/ 48569 w 53731"/>
                  <a:gd name="connsiteY5" fmla="*/ 2312 h 125383"/>
                  <a:gd name="connsiteX6" fmla="*/ 47850 w 53731"/>
                  <a:gd name="connsiteY6" fmla="*/ 1842 h 125383"/>
                  <a:gd name="connsiteX7" fmla="*/ 30602 w 53731"/>
                  <a:gd name="connsiteY7" fmla="*/ 4782 h 125383"/>
                  <a:gd name="connsiteX8" fmla="*/ -432 w 53731"/>
                  <a:gd name="connsiteY8" fmla="*/ 114152 h 125383"/>
                  <a:gd name="connsiteX9" fmla="*/ 11720 w 53731"/>
                  <a:gd name="connsiteY9" fmla="*/ 125194 h 125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3731" h="125383">
                    <a:moveTo>
                      <a:pt x="11720" y="125194"/>
                    </a:moveTo>
                    <a:lnTo>
                      <a:pt x="12831" y="125194"/>
                    </a:lnTo>
                    <a:cubicBezTo>
                      <a:pt x="19365" y="124848"/>
                      <a:pt x="24330" y="119274"/>
                      <a:pt x="24003" y="112754"/>
                    </a:cubicBezTo>
                    <a:cubicBezTo>
                      <a:pt x="24003" y="112721"/>
                      <a:pt x="24003" y="112682"/>
                      <a:pt x="24003" y="112650"/>
                    </a:cubicBezTo>
                    <a:cubicBezTo>
                      <a:pt x="23089" y="79113"/>
                      <a:pt x="32497" y="46106"/>
                      <a:pt x="50987" y="18110"/>
                    </a:cubicBezTo>
                    <a:cubicBezTo>
                      <a:pt x="54645" y="13073"/>
                      <a:pt x="53600" y="6004"/>
                      <a:pt x="48569" y="2312"/>
                    </a:cubicBezTo>
                    <a:cubicBezTo>
                      <a:pt x="48308" y="2149"/>
                      <a:pt x="48112" y="1992"/>
                      <a:pt x="47850" y="1842"/>
                    </a:cubicBezTo>
                    <a:cubicBezTo>
                      <a:pt x="42166" y="-1738"/>
                      <a:pt x="34718" y="-471"/>
                      <a:pt x="30602" y="4782"/>
                    </a:cubicBezTo>
                    <a:cubicBezTo>
                      <a:pt x="8944" y="37038"/>
                      <a:pt x="-1921" y="75331"/>
                      <a:pt x="-432" y="114152"/>
                    </a:cubicBezTo>
                    <a:cubicBezTo>
                      <a:pt x="52" y="120470"/>
                      <a:pt x="5383" y="125318"/>
                      <a:pt x="11720" y="125194"/>
                    </a:cubicBezTo>
                    <a:close/>
                  </a:path>
                </a:pathLst>
              </a:custGeom>
              <a:noFill/>
              <a:ln w="1633" cap="rnd">
                <a:solidFill>
                  <a:srgbClr val="263238"/>
                </a:solidFill>
                <a:prstDash val="solid"/>
                <a:round/>
              </a:ln>
            </p:spPr>
            <p:txBody>
              <a:bodyPr rtlCol="0" anchor="ctr"/>
              <a:lstStyle/>
              <a:p>
                <a:endParaRPr lang="zh-CN" altLang="en-US"/>
              </a:p>
            </p:txBody>
          </p:sp>
          <p:sp>
            <p:nvSpPr>
              <p:cNvPr id="86" name="íşľíḍè">
                <a:extLst>
                  <a:ext uri="{FF2B5EF4-FFF2-40B4-BE49-F238E27FC236}">
                    <a16:creationId xmlns:a16="http://schemas.microsoft.com/office/drawing/2014/main" id="{E2FC0F13-4277-1B57-FE2B-872563F13CFC}"/>
                  </a:ext>
                </a:extLst>
              </p:cNvPr>
              <p:cNvSpPr/>
              <p:nvPr/>
            </p:nvSpPr>
            <p:spPr>
              <a:xfrm>
                <a:off x="6391940" y="5295146"/>
                <a:ext cx="44482" cy="125256"/>
              </a:xfrm>
              <a:custGeom>
                <a:avLst/>
                <a:gdLst>
                  <a:gd name="connsiteX0" fmla="*/ 8802 w 44482"/>
                  <a:gd name="connsiteY0" fmla="*/ 125070 h 125256"/>
                  <a:gd name="connsiteX1" fmla="*/ 8802 w 44482"/>
                  <a:gd name="connsiteY1" fmla="*/ 125070 h 125256"/>
                  <a:gd name="connsiteX2" fmla="*/ 18733 w 44482"/>
                  <a:gd name="connsiteY2" fmla="*/ 113310 h 125256"/>
                  <a:gd name="connsiteX3" fmla="*/ 42776 w 44482"/>
                  <a:gd name="connsiteY3" fmla="*/ 16745 h 125256"/>
                  <a:gd name="connsiteX4" fmla="*/ 38660 w 44482"/>
                  <a:gd name="connsiteY4" fmla="*/ 934 h 125256"/>
                  <a:gd name="connsiteX5" fmla="*/ 26168 w 44482"/>
                  <a:gd name="connsiteY5" fmla="*/ 4625 h 125256"/>
                  <a:gd name="connsiteX6" fmla="*/ 25593 w 44482"/>
                  <a:gd name="connsiteY6" fmla="*/ 5899 h 125256"/>
                  <a:gd name="connsiteX7" fmla="*/ -541 w 44482"/>
                  <a:gd name="connsiteY7" fmla="*/ 113702 h 125256"/>
                  <a:gd name="connsiteX8" fmla="*/ 8802 w 44482"/>
                  <a:gd name="connsiteY8" fmla="*/ 125070 h 125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482" h="125256">
                    <a:moveTo>
                      <a:pt x="8802" y="125070"/>
                    </a:moveTo>
                    <a:lnTo>
                      <a:pt x="8802" y="125070"/>
                    </a:lnTo>
                    <a:cubicBezTo>
                      <a:pt x="14767" y="124515"/>
                      <a:pt x="19184" y="119281"/>
                      <a:pt x="18733" y="113310"/>
                    </a:cubicBezTo>
                    <a:cubicBezTo>
                      <a:pt x="18080" y="72476"/>
                      <a:pt x="42450" y="17268"/>
                      <a:pt x="42776" y="16745"/>
                    </a:cubicBezTo>
                    <a:cubicBezTo>
                      <a:pt x="45272" y="11159"/>
                      <a:pt x="43567" y="4593"/>
                      <a:pt x="38660" y="934"/>
                    </a:cubicBezTo>
                    <a:cubicBezTo>
                      <a:pt x="34191" y="-1497"/>
                      <a:pt x="28599" y="157"/>
                      <a:pt x="26168" y="4625"/>
                    </a:cubicBezTo>
                    <a:cubicBezTo>
                      <a:pt x="25946" y="5037"/>
                      <a:pt x="25750" y="5462"/>
                      <a:pt x="25593" y="5899"/>
                    </a:cubicBezTo>
                    <a:cubicBezTo>
                      <a:pt x="24482" y="8317"/>
                      <a:pt x="-1390" y="66857"/>
                      <a:pt x="-541" y="113702"/>
                    </a:cubicBezTo>
                    <a:cubicBezTo>
                      <a:pt x="-933" y="119366"/>
                      <a:pt x="3164" y="124358"/>
                      <a:pt x="8802" y="125070"/>
                    </a:cubicBezTo>
                    <a:close/>
                  </a:path>
                </a:pathLst>
              </a:custGeom>
              <a:solidFill>
                <a:srgbClr val="FFFFFF"/>
              </a:solidFill>
              <a:ln w="6531" cap="flat">
                <a:noFill/>
                <a:prstDash val="solid"/>
                <a:miter/>
              </a:ln>
            </p:spPr>
            <p:txBody>
              <a:bodyPr rtlCol="0" anchor="ctr"/>
              <a:lstStyle/>
              <a:p>
                <a:endParaRPr lang="zh-CN" altLang="en-US"/>
              </a:p>
            </p:txBody>
          </p:sp>
          <p:sp>
            <p:nvSpPr>
              <p:cNvPr id="87" name="ïsľîdê">
                <a:extLst>
                  <a:ext uri="{FF2B5EF4-FFF2-40B4-BE49-F238E27FC236}">
                    <a16:creationId xmlns:a16="http://schemas.microsoft.com/office/drawing/2014/main" id="{B0459116-1380-EC19-7DDE-D8A525C54D3F}"/>
                  </a:ext>
                </a:extLst>
              </p:cNvPr>
              <p:cNvSpPr/>
              <p:nvPr/>
            </p:nvSpPr>
            <p:spPr>
              <a:xfrm>
                <a:off x="6391940" y="5295146"/>
                <a:ext cx="44482" cy="125256"/>
              </a:xfrm>
              <a:custGeom>
                <a:avLst/>
                <a:gdLst>
                  <a:gd name="connsiteX0" fmla="*/ 8802 w 44482"/>
                  <a:gd name="connsiteY0" fmla="*/ 125070 h 125256"/>
                  <a:gd name="connsiteX1" fmla="*/ 8802 w 44482"/>
                  <a:gd name="connsiteY1" fmla="*/ 125070 h 125256"/>
                  <a:gd name="connsiteX2" fmla="*/ 18733 w 44482"/>
                  <a:gd name="connsiteY2" fmla="*/ 113310 h 125256"/>
                  <a:gd name="connsiteX3" fmla="*/ 42776 w 44482"/>
                  <a:gd name="connsiteY3" fmla="*/ 16745 h 125256"/>
                  <a:gd name="connsiteX4" fmla="*/ 38660 w 44482"/>
                  <a:gd name="connsiteY4" fmla="*/ 934 h 125256"/>
                  <a:gd name="connsiteX5" fmla="*/ 26168 w 44482"/>
                  <a:gd name="connsiteY5" fmla="*/ 4625 h 125256"/>
                  <a:gd name="connsiteX6" fmla="*/ 25593 w 44482"/>
                  <a:gd name="connsiteY6" fmla="*/ 5899 h 125256"/>
                  <a:gd name="connsiteX7" fmla="*/ -541 w 44482"/>
                  <a:gd name="connsiteY7" fmla="*/ 113702 h 125256"/>
                  <a:gd name="connsiteX8" fmla="*/ 8802 w 44482"/>
                  <a:gd name="connsiteY8" fmla="*/ 125070 h 125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482" h="125256">
                    <a:moveTo>
                      <a:pt x="8802" y="125070"/>
                    </a:moveTo>
                    <a:lnTo>
                      <a:pt x="8802" y="125070"/>
                    </a:lnTo>
                    <a:cubicBezTo>
                      <a:pt x="14767" y="124515"/>
                      <a:pt x="19184" y="119281"/>
                      <a:pt x="18733" y="113310"/>
                    </a:cubicBezTo>
                    <a:cubicBezTo>
                      <a:pt x="18080" y="72476"/>
                      <a:pt x="42450" y="17268"/>
                      <a:pt x="42776" y="16745"/>
                    </a:cubicBezTo>
                    <a:cubicBezTo>
                      <a:pt x="45272" y="11159"/>
                      <a:pt x="43567" y="4593"/>
                      <a:pt x="38660" y="934"/>
                    </a:cubicBezTo>
                    <a:cubicBezTo>
                      <a:pt x="34191" y="-1497"/>
                      <a:pt x="28599" y="157"/>
                      <a:pt x="26168" y="4625"/>
                    </a:cubicBezTo>
                    <a:cubicBezTo>
                      <a:pt x="25946" y="5037"/>
                      <a:pt x="25750" y="5462"/>
                      <a:pt x="25593" y="5899"/>
                    </a:cubicBezTo>
                    <a:cubicBezTo>
                      <a:pt x="24482" y="8317"/>
                      <a:pt x="-1390" y="66857"/>
                      <a:pt x="-541" y="113702"/>
                    </a:cubicBezTo>
                    <a:cubicBezTo>
                      <a:pt x="-933" y="119366"/>
                      <a:pt x="3164" y="124358"/>
                      <a:pt x="8802" y="125070"/>
                    </a:cubicBezTo>
                    <a:close/>
                  </a:path>
                </a:pathLst>
              </a:custGeom>
              <a:noFill/>
              <a:ln w="1633" cap="rnd">
                <a:solidFill>
                  <a:srgbClr val="263238"/>
                </a:solidFill>
                <a:prstDash val="solid"/>
                <a:round/>
              </a:ln>
            </p:spPr>
            <p:txBody>
              <a:bodyPr rtlCol="0" anchor="ctr"/>
              <a:lstStyle/>
              <a:p>
                <a:endParaRPr lang="zh-CN" altLang="en-US"/>
              </a:p>
            </p:txBody>
          </p:sp>
          <p:sp>
            <p:nvSpPr>
              <p:cNvPr id="88" name="íşļíḓe">
                <a:extLst>
                  <a:ext uri="{FF2B5EF4-FFF2-40B4-BE49-F238E27FC236}">
                    <a16:creationId xmlns:a16="http://schemas.microsoft.com/office/drawing/2014/main" id="{101C55BF-DE78-49CF-E86F-AD283DB06672}"/>
                  </a:ext>
                </a:extLst>
              </p:cNvPr>
              <p:cNvSpPr/>
              <p:nvPr/>
            </p:nvSpPr>
            <p:spPr>
              <a:xfrm>
                <a:off x="6328635" y="5285987"/>
                <a:ext cx="62713" cy="134416"/>
              </a:xfrm>
              <a:custGeom>
                <a:avLst/>
                <a:gdLst>
                  <a:gd name="connsiteX0" fmla="*/ 15593 w 62713"/>
                  <a:gd name="connsiteY0" fmla="*/ 134229 h 134416"/>
                  <a:gd name="connsiteX1" fmla="*/ 18925 w 62713"/>
                  <a:gd name="connsiteY1" fmla="*/ 134229 h 134416"/>
                  <a:gd name="connsiteX2" fmla="*/ 27726 w 62713"/>
                  <a:gd name="connsiteY2" fmla="*/ 119575 h 134416"/>
                  <a:gd name="connsiteX3" fmla="*/ 27680 w 62713"/>
                  <a:gd name="connsiteY3" fmla="*/ 119398 h 134416"/>
                  <a:gd name="connsiteX4" fmla="*/ 58256 w 62713"/>
                  <a:gd name="connsiteY4" fmla="*/ 20612 h 134416"/>
                  <a:gd name="connsiteX5" fmla="*/ 59165 w 62713"/>
                  <a:gd name="connsiteY5" fmla="*/ 4096 h 134416"/>
                  <a:gd name="connsiteX6" fmla="*/ 58648 w 62713"/>
                  <a:gd name="connsiteY6" fmla="*/ 3560 h 134416"/>
                  <a:gd name="connsiteX7" fmla="*/ 40747 w 62713"/>
                  <a:gd name="connsiteY7" fmla="*/ 3168 h 134416"/>
                  <a:gd name="connsiteX8" fmla="*/ 39440 w 62713"/>
                  <a:gd name="connsiteY8" fmla="*/ 4540 h 134416"/>
                  <a:gd name="connsiteX9" fmla="*/ 3310 w 62713"/>
                  <a:gd name="connsiteY9" fmla="*/ 125932 h 134416"/>
                  <a:gd name="connsiteX10" fmla="*/ 15593 w 62713"/>
                  <a:gd name="connsiteY10" fmla="*/ 134229 h 134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713" h="134416">
                    <a:moveTo>
                      <a:pt x="15593" y="134229"/>
                    </a:moveTo>
                    <a:lnTo>
                      <a:pt x="18925" y="134229"/>
                    </a:lnTo>
                    <a:cubicBezTo>
                      <a:pt x="25400" y="132615"/>
                      <a:pt x="29340" y="126049"/>
                      <a:pt x="27726" y="119575"/>
                    </a:cubicBezTo>
                    <a:cubicBezTo>
                      <a:pt x="27713" y="119516"/>
                      <a:pt x="27693" y="119457"/>
                      <a:pt x="27680" y="119398"/>
                    </a:cubicBezTo>
                    <a:cubicBezTo>
                      <a:pt x="13110" y="69613"/>
                      <a:pt x="57799" y="21396"/>
                      <a:pt x="58256" y="20612"/>
                    </a:cubicBezTo>
                    <a:cubicBezTo>
                      <a:pt x="63065" y="16300"/>
                      <a:pt x="63470" y="8911"/>
                      <a:pt x="59165" y="4096"/>
                    </a:cubicBezTo>
                    <a:cubicBezTo>
                      <a:pt x="58995" y="3913"/>
                      <a:pt x="58825" y="3736"/>
                      <a:pt x="58648" y="3560"/>
                    </a:cubicBezTo>
                    <a:cubicBezTo>
                      <a:pt x="53722" y="-1281"/>
                      <a:pt x="45882" y="-1451"/>
                      <a:pt x="40747" y="3168"/>
                    </a:cubicBezTo>
                    <a:cubicBezTo>
                      <a:pt x="40276" y="3592"/>
                      <a:pt x="39845" y="4050"/>
                      <a:pt x="39440" y="4540"/>
                    </a:cubicBezTo>
                    <a:cubicBezTo>
                      <a:pt x="37284" y="6892"/>
                      <a:pt x="-14984" y="63341"/>
                      <a:pt x="3310" y="125932"/>
                    </a:cubicBezTo>
                    <a:cubicBezTo>
                      <a:pt x="5290" y="130976"/>
                      <a:pt x="10177" y="134275"/>
                      <a:pt x="15593" y="134229"/>
                    </a:cubicBezTo>
                    <a:close/>
                  </a:path>
                </a:pathLst>
              </a:custGeom>
              <a:solidFill>
                <a:srgbClr val="FFFFFF"/>
              </a:solidFill>
              <a:ln w="6531" cap="flat">
                <a:noFill/>
                <a:prstDash val="solid"/>
                <a:miter/>
              </a:ln>
            </p:spPr>
            <p:txBody>
              <a:bodyPr rtlCol="0" anchor="ctr"/>
              <a:lstStyle/>
              <a:p>
                <a:endParaRPr lang="zh-CN" altLang="en-US"/>
              </a:p>
            </p:txBody>
          </p:sp>
          <p:sp>
            <p:nvSpPr>
              <p:cNvPr id="89" name="îṣľidè">
                <a:extLst>
                  <a:ext uri="{FF2B5EF4-FFF2-40B4-BE49-F238E27FC236}">
                    <a16:creationId xmlns:a16="http://schemas.microsoft.com/office/drawing/2014/main" id="{989CC8E5-47E5-EF64-045A-A14B488D08FF}"/>
                  </a:ext>
                </a:extLst>
              </p:cNvPr>
              <p:cNvSpPr/>
              <p:nvPr/>
            </p:nvSpPr>
            <p:spPr>
              <a:xfrm>
                <a:off x="6328635" y="5285987"/>
                <a:ext cx="62713" cy="134416"/>
              </a:xfrm>
              <a:custGeom>
                <a:avLst/>
                <a:gdLst>
                  <a:gd name="connsiteX0" fmla="*/ 15593 w 62713"/>
                  <a:gd name="connsiteY0" fmla="*/ 134229 h 134416"/>
                  <a:gd name="connsiteX1" fmla="*/ 18925 w 62713"/>
                  <a:gd name="connsiteY1" fmla="*/ 134229 h 134416"/>
                  <a:gd name="connsiteX2" fmla="*/ 27726 w 62713"/>
                  <a:gd name="connsiteY2" fmla="*/ 119575 h 134416"/>
                  <a:gd name="connsiteX3" fmla="*/ 27680 w 62713"/>
                  <a:gd name="connsiteY3" fmla="*/ 119398 h 134416"/>
                  <a:gd name="connsiteX4" fmla="*/ 58256 w 62713"/>
                  <a:gd name="connsiteY4" fmla="*/ 20612 h 134416"/>
                  <a:gd name="connsiteX5" fmla="*/ 59165 w 62713"/>
                  <a:gd name="connsiteY5" fmla="*/ 4096 h 134416"/>
                  <a:gd name="connsiteX6" fmla="*/ 58648 w 62713"/>
                  <a:gd name="connsiteY6" fmla="*/ 3560 h 134416"/>
                  <a:gd name="connsiteX7" fmla="*/ 40747 w 62713"/>
                  <a:gd name="connsiteY7" fmla="*/ 3168 h 134416"/>
                  <a:gd name="connsiteX8" fmla="*/ 39440 w 62713"/>
                  <a:gd name="connsiteY8" fmla="*/ 4540 h 134416"/>
                  <a:gd name="connsiteX9" fmla="*/ 3310 w 62713"/>
                  <a:gd name="connsiteY9" fmla="*/ 125932 h 134416"/>
                  <a:gd name="connsiteX10" fmla="*/ 15593 w 62713"/>
                  <a:gd name="connsiteY10" fmla="*/ 134229 h 134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713" h="134416">
                    <a:moveTo>
                      <a:pt x="15593" y="134229"/>
                    </a:moveTo>
                    <a:lnTo>
                      <a:pt x="18925" y="134229"/>
                    </a:lnTo>
                    <a:cubicBezTo>
                      <a:pt x="25400" y="132615"/>
                      <a:pt x="29340" y="126049"/>
                      <a:pt x="27726" y="119575"/>
                    </a:cubicBezTo>
                    <a:cubicBezTo>
                      <a:pt x="27713" y="119516"/>
                      <a:pt x="27693" y="119457"/>
                      <a:pt x="27680" y="119398"/>
                    </a:cubicBezTo>
                    <a:cubicBezTo>
                      <a:pt x="13110" y="69613"/>
                      <a:pt x="57799" y="21396"/>
                      <a:pt x="58256" y="20612"/>
                    </a:cubicBezTo>
                    <a:cubicBezTo>
                      <a:pt x="63065" y="16300"/>
                      <a:pt x="63470" y="8911"/>
                      <a:pt x="59165" y="4096"/>
                    </a:cubicBezTo>
                    <a:cubicBezTo>
                      <a:pt x="58995" y="3913"/>
                      <a:pt x="58825" y="3736"/>
                      <a:pt x="58648" y="3560"/>
                    </a:cubicBezTo>
                    <a:cubicBezTo>
                      <a:pt x="53722" y="-1281"/>
                      <a:pt x="45882" y="-1451"/>
                      <a:pt x="40747" y="3168"/>
                    </a:cubicBezTo>
                    <a:cubicBezTo>
                      <a:pt x="40276" y="3592"/>
                      <a:pt x="39845" y="4050"/>
                      <a:pt x="39440" y="4540"/>
                    </a:cubicBezTo>
                    <a:cubicBezTo>
                      <a:pt x="37284" y="6892"/>
                      <a:pt x="-14984" y="63341"/>
                      <a:pt x="3310" y="125932"/>
                    </a:cubicBezTo>
                    <a:cubicBezTo>
                      <a:pt x="5290" y="130976"/>
                      <a:pt x="10177" y="134275"/>
                      <a:pt x="15593" y="134229"/>
                    </a:cubicBezTo>
                    <a:close/>
                  </a:path>
                </a:pathLst>
              </a:custGeom>
              <a:noFill/>
              <a:ln w="1633" cap="rnd">
                <a:solidFill>
                  <a:srgbClr val="263238"/>
                </a:solidFill>
                <a:prstDash val="solid"/>
                <a:round/>
              </a:ln>
            </p:spPr>
            <p:txBody>
              <a:bodyPr rtlCol="0" anchor="ctr"/>
              <a:lstStyle/>
              <a:p>
                <a:endParaRPr lang="zh-CN" altLang="en-US"/>
              </a:p>
            </p:txBody>
          </p:sp>
          <p:sp>
            <p:nvSpPr>
              <p:cNvPr id="90" name="iṣḻíḑê">
                <a:extLst>
                  <a:ext uri="{FF2B5EF4-FFF2-40B4-BE49-F238E27FC236}">
                    <a16:creationId xmlns:a16="http://schemas.microsoft.com/office/drawing/2014/main" id="{F36F3F97-F5F8-E78E-63C1-D532AC79C03E}"/>
                  </a:ext>
                </a:extLst>
              </p:cNvPr>
              <p:cNvSpPr/>
              <p:nvPr/>
            </p:nvSpPr>
            <p:spPr>
              <a:xfrm>
                <a:off x="6274965" y="5277036"/>
                <a:ext cx="53802" cy="134424"/>
              </a:xfrm>
              <a:custGeom>
                <a:avLst/>
                <a:gdLst>
                  <a:gd name="connsiteX0" fmla="*/ 15166 w 53802"/>
                  <a:gd name="connsiteY0" fmla="*/ 134229 h 134424"/>
                  <a:gd name="connsiteX1" fmla="*/ 18955 w 53802"/>
                  <a:gd name="connsiteY1" fmla="*/ 133510 h 134424"/>
                  <a:gd name="connsiteX2" fmla="*/ 26449 w 53802"/>
                  <a:gd name="connsiteY2" fmla="*/ 119078 h 134424"/>
                  <a:gd name="connsiteX3" fmla="*/ 26403 w 53802"/>
                  <a:gd name="connsiteY3" fmla="*/ 118941 h 134424"/>
                  <a:gd name="connsiteX4" fmla="*/ 26403 w 53802"/>
                  <a:gd name="connsiteY4" fmla="*/ 118549 h 134424"/>
                  <a:gd name="connsiteX5" fmla="*/ 50250 w 53802"/>
                  <a:gd name="connsiteY5" fmla="*/ 19632 h 134424"/>
                  <a:gd name="connsiteX6" fmla="*/ 49336 w 53802"/>
                  <a:gd name="connsiteY6" fmla="*/ 2841 h 134424"/>
                  <a:gd name="connsiteX7" fmla="*/ 32727 w 53802"/>
                  <a:gd name="connsiteY7" fmla="*/ 3696 h 134424"/>
                  <a:gd name="connsiteX8" fmla="*/ 32675 w 53802"/>
                  <a:gd name="connsiteY8" fmla="*/ 3755 h 134424"/>
                  <a:gd name="connsiteX9" fmla="*/ 31107 w 53802"/>
                  <a:gd name="connsiteY9" fmla="*/ 5977 h 134424"/>
                  <a:gd name="connsiteX10" fmla="*/ 4059 w 53802"/>
                  <a:gd name="connsiteY10" fmla="*/ 126454 h 134424"/>
                  <a:gd name="connsiteX11" fmla="*/ 15166 w 53802"/>
                  <a:gd name="connsiteY11" fmla="*/ 134229 h 134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3802" h="134424">
                    <a:moveTo>
                      <a:pt x="15166" y="134229"/>
                    </a:moveTo>
                    <a:cubicBezTo>
                      <a:pt x="16466" y="134288"/>
                      <a:pt x="17766" y="134039"/>
                      <a:pt x="18955" y="133510"/>
                    </a:cubicBezTo>
                    <a:cubicBezTo>
                      <a:pt x="25012" y="131596"/>
                      <a:pt x="28363" y="125134"/>
                      <a:pt x="26449" y="119078"/>
                    </a:cubicBezTo>
                    <a:cubicBezTo>
                      <a:pt x="26436" y="119032"/>
                      <a:pt x="26416" y="118986"/>
                      <a:pt x="26403" y="118941"/>
                    </a:cubicBezTo>
                    <a:cubicBezTo>
                      <a:pt x="26403" y="118941"/>
                      <a:pt x="26403" y="118941"/>
                      <a:pt x="26403" y="118549"/>
                    </a:cubicBezTo>
                    <a:cubicBezTo>
                      <a:pt x="11638" y="75166"/>
                      <a:pt x="49924" y="20154"/>
                      <a:pt x="50250" y="19632"/>
                    </a:cubicBezTo>
                    <a:cubicBezTo>
                      <a:pt x="54563" y="14719"/>
                      <a:pt x="54157" y="7257"/>
                      <a:pt x="49336" y="2841"/>
                    </a:cubicBezTo>
                    <a:cubicBezTo>
                      <a:pt x="44514" y="-1511"/>
                      <a:pt x="37079" y="-1125"/>
                      <a:pt x="32727" y="3696"/>
                    </a:cubicBezTo>
                    <a:cubicBezTo>
                      <a:pt x="32708" y="3716"/>
                      <a:pt x="32695" y="3736"/>
                      <a:pt x="32675" y="3755"/>
                    </a:cubicBezTo>
                    <a:cubicBezTo>
                      <a:pt x="32081" y="4441"/>
                      <a:pt x="31551" y="5186"/>
                      <a:pt x="31107" y="5977"/>
                    </a:cubicBezTo>
                    <a:cubicBezTo>
                      <a:pt x="29213" y="8590"/>
                      <a:pt x="-14627" y="71311"/>
                      <a:pt x="4059" y="126454"/>
                    </a:cubicBezTo>
                    <a:cubicBezTo>
                      <a:pt x="5790" y="131099"/>
                      <a:pt x="10207" y="134190"/>
                      <a:pt x="15166" y="134229"/>
                    </a:cubicBezTo>
                    <a:close/>
                  </a:path>
                </a:pathLst>
              </a:custGeom>
              <a:solidFill>
                <a:srgbClr val="FFFFFF"/>
              </a:solidFill>
              <a:ln w="6531" cap="flat">
                <a:noFill/>
                <a:prstDash val="solid"/>
                <a:miter/>
              </a:ln>
            </p:spPr>
            <p:txBody>
              <a:bodyPr rtlCol="0" anchor="ctr"/>
              <a:lstStyle/>
              <a:p>
                <a:endParaRPr lang="zh-CN" altLang="en-US"/>
              </a:p>
            </p:txBody>
          </p:sp>
          <p:sp>
            <p:nvSpPr>
              <p:cNvPr id="91" name="í$ḷiḋè">
                <a:extLst>
                  <a:ext uri="{FF2B5EF4-FFF2-40B4-BE49-F238E27FC236}">
                    <a16:creationId xmlns:a16="http://schemas.microsoft.com/office/drawing/2014/main" id="{89A25BA3-CD24-C7B1-E003-068EEB6F004F}"/>
                  </a:ext>
                </a:extLst>
              </p:cNvPr>
              <p:cNvSpPr/>
              <p:nvPr/>
            </p:nvSpPr>
            <p:spPr>
              <a:xfrm>
                <a:off x="6274965" y="5277036"/>
                <a:ext cx="53802" cy="134424"/>
              </a:xfrm>
              <a:custGeom>
                <a:avLst/>
                <a:gdLst>
                  <a:gd name="connsiteX0" fmla="*/ 15166 w 53802"/>
                  <a:gd name="connsiteY0" fmla="*/ 134229 h 134424"/>
                  <a:gd name="connsiteX1" fmla="*/ 18955 w 53802"/>
                  <a:gd name="connsiteY1" fmla="*/ 133510 h 134424"/>
                  <a:gd name="connsiteX2" fmla="*/ 26449 w 53802"/>
                  <a:gd name="connsiteY2" fmla="*/ 119078 h 134424"/>
                  <a:gd name="connsiteX3" fmla="*/ 26403 w 53802"/>
                  <a:gd name="connsiteY3" fmla="*/ 118941 h 134424"/>
                  <a:gd name="connsiteX4" fmla="*/ 26403 w 53802"/>
                  <a:gd name="connsiteY4" fmla="*/ 118549 h 134424"/>
                  <a:gd name="connsiteX5" fmla="*/ 50250 w 53802"/>
                  <a:gd name="connsiteY5" fmla="*/ 19632 h 134424"/>
                  <a:gd name="connsiteX6" fmla="*/ 49336 w 53802"/>
                  <a:gd name="connsiteY6" fmla="*/ 2841 h 134424"/>
                  <a:gd name="connsiteX7" fmla="*/ 32727 w 53802"/>
                  <a:gd name="connsiteY7" fmla="*/ 3696 h 134424"/>
                  <a:gd name="connsiteX8" fmla="*/ 32675 w 53802"/>
                  <a:gd name="connsiteY8" fmla="*/ 3755 h 134424"/>
                  <a:gd name="connsiteX9" fmla="*/ 31107 w 53802"/>
                  <a:gd name="connsiteY9" fmla="*/ 5977 h 134424"/>
                  <a:gd name="connsiteX10" fmla="*/ 4059 w 53802"/>
                  <a:gd name="connsiteY10" fmla="*/ 126454 h 134424"/>
                  <a:gd name="connsiteX11" fmla="*/ 15166 w 53802"/>
                  <a:gd name="connsiteY11" fmla="*/ 134229 h 134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3802" h="134424">
                    <a:moveTo>
                      <a:pt x="15166" y="134229"/>
                    </a:moveTo>
                    <a:cubicBezTo>
                      <a:pt x="16466" y="134288"/>
                      <a:pt x="17766" y="134039"/>
                      <a:pt x="18955" y="133510"/>
                    </a:cubicBezTo>
                    <a:cubicBezTo>
                      <a:pt x="25012" y="131596"/>
                      <a:pt x="28363" y="125134"/>
                      <a:pt x="26449" y="119078"/>
                    </a:cubicBezTo>
                    <a:cubicBezTo>
                      <a:pt x="26436" y="119032"/>
                      <a:pt x="26416" y="118986"/>
                      <a:pt x="26403" y="118941"/>
                    </a:cubicBezTo>
                    <a:cubicBezTo>
                      <a:pt x="26403" y="118941"/>
                      <a:pt x="26403" y="118941"/>
                      <a:pt x="26403" y="118549"/>
                    </a:cubicBezTo>
                    <a:cubicBezTo>
                      <a:pt x="11638" y="75166"/>
                      <a:pt x="49924" y="20154"/>
                      <a:pt x="50250" y="19632"/>
                    </a:cubicBezTo>
                    <a:cubicBezTo>
                      <a:pt x="54563" y="14719"/>
                      <a:pt x="54157" y="7257"/>
                      <a:pt x="49336" y="2841"/>
                    </a:cubicBezTo>
                    <a:cubicBezTo>
                      <a:pt x="44514" y="-1511"/>
                      <a:pt x="37079" y="-1125"/>
                      <a:pt x="32727" y="3696"/>
                    </a:cubicBezTo>
                    <a:cubicBezTo>
                      <a:pt x="32708" y="3716"/>
                      <a:pt x="32695" y="3736"/>
                      <a:pt x="32675" y="3755"/>
                    </a:cubicBezTo>
                    <a:cubicBezTo>
                      <a:pt x="32081" y="4441"/>
                      <a:pt x="31551" y="5186"/>
                      <a:pt x="31107" y="5977"/>
                    </a:cubicBezTo>
                    <a:cubicBezTo>
                      <a:pt x="29213" y="8590"/>
                      <a:pt x="-14627" y="71311"/>
                      <a:pt x="4059" y="126454"/>
                    </a:cubicBezTo>
                    <a:cubicBezTo>
                      <a:pt x="5790" y="131099"/>
                      <a:pt x="10207" y="134190"/>
                      <a:pt x="15166" y="134229"/>
                    </a:cubicBezTo>
                    <a:close/>
                  </a:path>
                </a:pathLst>
              </a:custGeom>
              <a:noFill/>
              <a:ln w="1633" cap="rnd">
                <a:solidFill>
                  <a:srgbClr val="263238"/>
                </a:solidFill>
                <a:prstDash val="solid"/>
                <a:round/>
              </a:ln>
            </p:spPr>
            <p:txBody>
              <a:bodyPr rtlCol="0" anchor="ctr"/>
              <a:lstStyle/>
              <a:p>
                <a:endParaRPr lang="zh-CN" altLang="en-US"/>
              </a:p>
            </p:txBody>
          </p:sp>
          <p:sp>
            <p:nvSpPr>
              <p:cNvPr id="92" name="íSlîďe">
                <a:extLst>
                  <a:ext uri="{FF2B5EF4-FFF2-40B4-BE49-F238E27FC236}">
                    <a16:creationId xmlns:a16="http://schemas.microsoft.com/office/drawing/2014/main" id="{13F196D0-8B8E-76AD-8220-83E533920D39}"/>
                  </a:ext>
                </a:extLst>
              </p:cNvPr>
              <p:cNvSpPr/>
              <p:nvPr/>
            </p:nvSpPr>
            <p:spPr>
              <a:xfrm>
                <a:off x="6221132" y="5474180"/>
                <a:ext cx="98531" cy="71661"/>
              </a:xfrm>
              <a:custGeom>
                <a:avLst/>
                <a:gdLst>
                  <a:gd name="connsiteX0" fmla="*/ 13595 w 98531"/>
                  <a:gd name="connsiteY0" fmla="*/ 1832 h 71661"/>
                  <a:gd name="connsiteX1" fmla="*/ 80106 w 98531"/>
                  <a:gd name="connsiteY1" fmla="*/ 63769 h 71661"/>
                  <a:gd name="connsiteX2" fmla="*/ 13595 w 98531"/>
                  <a:gd name="connsiteY2" fmla="*/ 1832 h 71661"/>
                </a:gdLst>
                <a:ahLst/>
                <a:cxnLst>
                  <a:cxn ang="0">
                    <a:pos x="connsiteX0" y="connsiteY0"/>
                  </a:cxn>
                  <a:cxn ang="0">
                    <a:pos x="connsiteX1" y="connsiteY1"/>
                  </a:cxn>
                  <a:cxn ang="0">
                    <a:pos x="connsiteX2" y="connsiteY2"/>
                  </a:cxn>
                </a:cxnLst>
                <a:rect l="l" t="t" r="r" b="b"/>
                <a:pathLst>
                  <a:path w="98531" h="71661">
                    <a:moveTo>
                      <a:pt x="13595" y="1832"/>
                    </a:moveTo>
                    <a:cubicBezTo>
                      <a:pt x="-26782" y="13527"/>
                      <a:pt x="26662" y="96829"/>
                      <a:pt x="80106" y="63769"/>
                    </a:cubicBezTo>
                    <a:cubicBezTo>
                      <a:pt x="133550" y="30710"/>
                      <a:pt x="53841" y="-9732"/>
                      <a:pt x="13595" y="1832"/>
                    </a:cubicBezTo>
                    <a:close/>
                  </a:path>
                </a:pathLst>
              </a:custGeom>
              <a:solidFill>
                <a:srgbClr val="FFFFFF"/>
              </a:solidFill>
              <a:ln w="6531" cap="flat">
                <a:noFill/>
                <a:prstDash val="solid"/>
                <a:miter/>
              </a:ln>
            </p:spPr>
            <p:txBody>
              <a:bodyPr rtlCol="0" anchor="ctr"/>
              <a:lstStyle/>
              <a:p>
                <a:endParaRPr lang="zh-CN" altLang="en-US"/>
              </a:p>
            </p:txBody>
          </p:sp>
          <p:sp>
            <p:nvSpPr>
              <p:cNvPr id="93" name="îṥľiḓe">
                <a:extLst>
                  <a:ext uri="{FF2B5EF4-FFF2-40B4-BE49-F238E27FC236}">
                    <a16:creationId xmlns:a16="http://schemas.microsoft.com/office/drawing/2014/main" id="{A877E99C-459B-C20D-5652-66536696D286}"/>
                  </a:ext>
                </a:extLst>
              </p:cNvPr>
              <p:cNvSpPr/>
              <p:nvPr/>
            </p:nvSpPr>
            <p:spPr>
              <a:xfrm>
                <a:off x="6221132" y="5474180"/>
                <a:ext cx="98531" cy="71661"/>
              </a:xfrm>
              <a:custGeom>
                <a:avLst/>
                <a:gdLst>
                  <a:gd name="connsiteX0" fmla="*/ 13595 w 98531"/>
                  <a:gd name="connsiteY0" fmla="*/ 1832 h 71661"/>
                  <a:gd name="connsiteX1" fmla="*/ 80106 w 98531"/>
                  <a:gd name="connsiteY1" fmla="*/ 63769 h 71661"/>
                  <a:gd name="connsiteX2" fmla="*/ 13595 w 98531"/>
                  <a:gd name="connsiteY2" fmla="*/ 1832 h 71661"/>
                </a:gdLst>
                <a:ahLst/>
                <a:cxnLst>
                  <a:cxn ang="0">
                    <a:pos x="connsiteX0" y="connsiteY0"/>
                  </a:cxn>
                  <a:cxn ang="0">
                    <a:pos x="connsiteX1" y="connsiteY1"/>
                  </a:cxn>
                  <a:cxn ang="0">
                    <a:pos x="connsiteX2" y="connsiteY2"/>
                  </a:cxn>
                </a:cxnLst>
                <a:rect l="l" t="t" r="r" b="b"/>
                <a:pathLst>
                  <a:path w="98531" h="71661">
                    <a:moveTo>
                      <a:pt x="13595" y="1832"/>
                    </a:moveTo>
                    <a:cubicBezTo>
                      <a:pt x="-26782" y="13527"/>
                      <a:pt x="26662" y="96829"/>
                      <a:pt x="80106" y="63769"/>
                    </a:cubicBezTo>
                    <a:cubicBezTo>
                      <a:pt x="133550" y="30710"/>
                      <a:pt x="53841" y="-9732"/>
                      <a:pt x="13595" y="1832"/>
                    </a:cubicBezTo>
                    <a:close/>
                  </a:path>
                </a:pathLst>
              </a:custGeom>
              <a:noFill/>
              <a:ln w="1633" cap="rnd">
                <a:solidFill>
                  <a:srgbClr val="263238"/>
                </a:solidFill>
                <a:prstDash val="solid"/>
                <a:round/>
              </a:ln>
            </p:spPr>
            <p:txBody>
              <a:bodyPr rtlCol="0" anchor="ctr"/>
              <a:lstStyle/>
              <a:p>
                <a:endParaRPr lang="zh-CN" altLang="en-US"/>
              </a:p>
            </p:txBody>
          </p:sp>
          <p:sp>
            <p:nvSpPr>
              <p:cNvPr id="94" name="ïṣļíḓê">
                <a:extLst>
                  <a:ext uri="{FF2B5EF4-FFF2-40B4-BE49-F238E27FC236}">
                    <a16:creationId xmlns:a16="http://schemas.microsoft.com/office/drawing/2014/main" id="{4BA863B4-72F6-CF48-A83B-EEDA0BDD0F75}"/>
                  </a:ext>
                </a:extLst>
              </p:cNvPr>
              <p:cNvSpPr/>
              <p:nvPr/>
            </p:nvSpPr>
            <p:spPr>
              <a:xfrm>
                <a:off x="4984395" y="5044075"/>
                <a:ext cx="1729540" cy="483856"/>
              </a:xfrm>
              <a:custGeom>
                <a:avLst/>
                <a:gdLst>
                  <a:gd name="connsiteX0" fmla="*/ 1728974 w 1729540"/>
                  <a:gd name="connsiteY0" fmla="*/ -187 h 483856"/>
                  <a:gd name="connsiteX1" fmla="*/ 1299333 w 1729540"/>
                  <a:gd name="connsiteY1" fmla="*/ 263243 h 483856"/>
                  <a:gd name="connsiteX2" fmla="*/ 1184148 w 1729540"/>
                  <a:gd name="connsiteY2" fmla="*/ 414166 h 483856"/>
                  <a:gd name="connsiteX3" fmla="*/ 1025058 w 1729540"/>
                  <a:gd name="connsiteY3" fmla="*/ 465453 h 483856"/>
                  <a:gd name="connsiteX4" fmla="*/ 848262 w 1729540"/>
                  <a:gd name="connsiteY4" fmla="*/ 442979 h 483856"/>
                  <a:gd name="connsiteX5" fmla="*/ 794557 w 1729540"/>
                  <a:gd name="connsiteY5" fmla="*/ 472967 h 483856"/>
                  <a:gd name="connsiteX6" fmla="*/ 724649 w 1729540"/>
                  <a:gd name="connsiteY6" fmla="*/ 425207 h 483856"/>
                  <a:gd name="connsiteX7" fmla="*/ -567 w 1729540"/>
                  <a:gd name="connsiteY7" fmla="*/ 239134 h 483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29540" h="483856">
                    <a:moveTo>
                      <a:pt x="1728974" y="-187"/>
                    </a:moveTo>
                    <a:cubicBezTo>
                      <a:pt x="1666841" y="87166"/>
                      <a:pt x="1482466" y="183730"/>
                      <a:pt x="1299333" y="263243"/>
                    </a:cubicBezTo>
                    <a:cubicBezTo>
                      <a:pt x="1266614" y="317640"/>
                      <a:pt x="1227981" y="368255"/>
                      <a:pt x="1184148" y="414166"/>
                    </a:cubicBezTo>
                    <a:cubicBezTo>
                      <a:pt x="1071119" y="530723"/>
                      <a:pt x="1025058" y="465453"/>
                      <a:pt x="1025058" y="465453"/>
                    </a:cubicBezTo>
                    <a:cubicBezTo>
                      <a:pt x="1025058" y="465453"/>
                      <a:pt x="953647" y="457352"/>
                      <a:pt x="848262" y="442979"/>
                    </a:cubicBezTo>
                    <a:cubicBezTo>
                      <a:pt x="839285" y="464049"/>
                      <a:pt x="817202" y="476378"/>
                      <a:pt x="794557" y="472967"/>
                    </a:cubicBezTo>
                    <a:cubicBezTo>
                      <a:pt x="781490" y="470811"/>
                      <a:pt x="754311" y="451210"/>
                      <a:pt x="724649" y="425207"/>
                    </a:cubicBezTo>
                    <a:cubicBezTo>
                      <a:pt x="458410" y="384831"/>
                      <a:pt x="97109" y="317536"/>
                      <a:pt x="-567" y="239134"/>
                    </a:cubicBezTo>
                  </a:path>
                </a:pathLst>
              </a:custGeom>
              <a:solidFill>
                <a:srgbClr val="557FF6"/>
              </a:solidFill>
              <a:ln w="6531" cap="flat">
                <a:noFill/>
                <a:prstDash val="solid"/>
                <a:miter/>
              </a:ln>
            </p:spPr>
            <p:txBody>
              <a:bodyPr rtlCol="0" anchor="ctr"/>
              <a:lstStyle/>
              <a:p>
                <a:endParaRPr lang="zh-CN" altLang="en-US"/>
              </a:p>
            </p:txBody>
          </p:sp>
          <p:sp>
            <p:nvSpPr>
              <p:cNvPr id="95" name="ïśḻidê">
                <a:extLst>
                  <a:ext uri="{FF2B5EF4-FFF2-40B4-BE49-F238E27FC236}">
                    <a16:creationId xmlns:a16="http://schemas.microsoft.com/office/drawing/2014/main" id="{4DF09672-0CAC-F4CE-012D-A24D87BB0F58}"/>
                  </a:ext>
                </a:extLst>
              </p:cNvPr>
              <p:cNvSpPr/>
              <p:nvPr/>
            </p:nvSpPr>
            <p:spPr>
              <a:xfrm>
                <a:off x="4984329" y="5044075"/>
                <a:ext cx="1729606" cy="483856"/>
              </a:xfrm>
              <a:custGeom>
                <a:avLst/>
                <a:gdLst>
                  <a:gd name="connsiteX0" fmla="*/ 1729040 w 1729606"/>
                  <a:gd name="connsiteY0" fmla="*/ -187 h 483856"/>
                  <a:gd name="connsiteX1" fmla="*/ 1299399 w 1729606"/>
                  <a:gd name="connsiteY1" fmla="*/ 263243 h 483856"/>
                  <a:gd name="connsiteX2" fmla="*/ 1184214 w 1729606"/>
                  <a:gd name="connsiteY2" fmla="*/ 414166 h 483856"/>
                  <a:gd name="connsiteX3" fmla="*/ 1025124 w 1729606"/>
                  <a:gd name="connsiteY3" fmla="*/ 465453 h 483856"/>
                  <a:gd name="connsiteX4" fmla="*/ 848328 w 1729606"/>
                  <a:gd name="connsiteY4" fmla="*/ 442979 h 483856"/>
                  <a:gd name="connsiteX5" fmla="*/ 794622 w 1729606"/>
                  <a:gd name="connsiteY5" fmla="*/ 472967 h 483856"/>
                  <a:gd name="connsiteX6" fmla="*/ 724649 w 1729606"/>
                  <a:gd name="connsiteY6" fmla="*/ 425207 h 483856"/>
                  <a:gd name="connsiteX7" fmla="*/ -567 w 1729606"/>
                  <a:gd name="connsiteY7" fmla="*/ 239134 h 483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29606" h="483856">
                    <a:moveTo>
                      <a:pt x="1729040" y="-187"/>
                    </a:moveTo>
                    <a:cubicBezTo>
                      <a:pt x="1666906" y="87166"/>
                      <a:pt x="1482532" y="183730"/>
                      <a:pt x="1299399" y="263243"/>
                    </a:cubicBezTo>
                    <a:cubicBezTo>
                      <a:pt x="1266679" y="317640"/>
                      <a:pt x="1228047" y="368255"/>
                      <a:pt x="1184214" y="414166"/>
                    </a:cubicBezTo>
                    <a:cubicBezTo>
                      <a:pt x="1071185" y="530723"/>
                      <a:pt x="1025124" y="465453"/>
                      <a:pt x="1025124" y="465453"/>
                    </a:cubicBezTo>
                    <a:cubicBezTo>
                      <a:pt x="1025124" y="465453"/>
                      <a:pt x="953712" y="457352"/>
                      <a:pt x="848328" y="442979"/>
                    </a:cubicBezTo>
                    <a:cubicBezTo>
                      <a:pt x="839351" y="464049"/>
                      <a:pt x="817268" y="476378"/>
                      <a:pt x="794622" y="472967"/>
                    </a:cubicBezTo>
                    <a:cubicBezTo>
                      <a:pt x="781556" y="470811"/>
                      <a:pt x="754376" y="451210"/>
                      <a:pt x="724649" y="425207"/>
                    </a:cubicBezTo>
                    <a:cubicBezTo>
                      <a:pt x="458475" y="384831"/>
                      <a:pt x="97435" y="317536"/>
                      <a:pt x="-567" y="239134"/>
                    </a:cubicBezTo>
                  </a:path>
                </a:pathLst>
              </a:custGeom>
              <a:noFill/>
              <a:ln w="1633" cap="rnd">
                <a:solidFill>
                  <a:srgbClr val="263238"/>
                </a:solidFill>
                <a:prstDash val="solid"/>
                <a:round/>
              </a:ln>
            </p:spPr>
            <p:txBody>
              <a:bodyPr rtlCol="0" anchor="ctr"/>
              <a:lstStyle/>
              <a:p>
                <a:endParaRPr lang="zh-CN" altLang="en-US"/>
              </a:p>
            </p:txBody>
          </p:sp>
          <p:sp>
            <p:nvSpPr>
              <p:cNvPr id="96" name="îṩļîḋê">
                <a:extLst>
                  <a:ext uri="{FF2B5EF4-FFF2-40B4-BE49-F238E27FC236}">
                    <a16:creationId xmlns:a16="http://schemas.microsoft.com/office/drawing/2014/main" id="{12765526-F136-03A6-B03F-1B6F4BCE61D2}"/>
                  </a:ext>
                </a:extLst>
              </p:cNvPr>
              <p:cNvSpPr/>
              <p:nvPr/>
            </p:nvSpPr>
            <p:spPr>
              <a:xfrm>
                <a:off x="5083181" y="4829073"/>
                <a:ext cx="1209405" cy="474903"/>
              </a:xfrm>
              <a:custGeom>
                <a:avLst/>
                <a:gdLst>
                  <a:gd name="connsiteX0" fmla="*/ -567 w 1209405"/>
                  <a:gd name="connsiteY0" fmla="*/ 48407 h 474903"/>
                  <a:gd name="connsiteX1" fmla="*/ 188904 w 1209405"/>
                  <a:gd name="connsiteY1" fmla="*/ 2673 h 474903"/>
                  <a:gd name="connsiteX2" fmla="*/ 619133 w 1209405"/>
                  <a:gd name="connsiteY2" fmla="*/ 188158 h 474903"/>
                  <a:gd name="connsiteX3" fmla="*/ 1053871 w 1209405"/>
                  <a:gd name="connsiteY3" fmla="*/ 405265 h 474903"/>
                  <a:gd name="connsiteX4" fmla="*/ 1187284 w 1209405"/>
                  <a:gd name="connsiteY4" fmla="*/ 405265 h 474903"/>
                  <a:gd name="connsiteX5" fmla="*/ 1199959 w 1209405"/>
                  <a:gd name="connsiteY5" fmla="*/ 474716 h 474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09405" h="474903">
                    <a:moveTo>
                      <a:pt x="-567" y="48407"/>
                    </a:moveTo>
                    <a:cubicBezTo>
                      <a:pt x="45690" y="-1966"/>
                      <a:pt x="91947" y="-4253"/>
                      <a:pt x="188904" y="2673"/>
                    </a:cubicBezTo>
                    <a:cubicBezTo>
                      <a:pt x="188904" y="2673"/>
                      <a:pt x="442338" y="82773"/>
                      <a:pt x="619133" y="188158"/>
                    </a:cubicBezTo>
                    <a:cubicBezTo>
                      <a:pt x="795929" y="293543"/>
                      <a:pt x="1053871" y="405265"/>
                      <a:pt x="1053871" y="405265"/>
                    </a:cubicBezTo>
                    <a:cubicBezTo>
                      <a:pt x="1053871" y="405265"/>
                      <a:pt x="1132272" y="382725"/>
                      <a:pt x="1187284" y="405265"/>
                    </a:cubicBezTo>
                    <a:cubicBezTo>
                      <a:pt x="1187284" y="405265"/>
                      <a:pt x="1225701" y="408206"/>
                      <a:pt x="1199959" y="474716"/>
                    </a:cubicBezTo>
                  </a:path>
                </a:pathLst>
              </a:custGeom>
              <a:noFill/>
              <a:ln w="1633" cap="rnd">
                <a:solidFill>
                  <a:srgbClr val="263238"/>
                </a:solidFill>
                <a:prstDash val="solid"/>
                <a:round/>
              </a:ln>
            </p:spPr>
            <p:txBody>
              <a:bodyPr rtlCol="0" anchor="ctr"/>
              <a:lstStyle/>
              <a:p>
                <a:endParaRPr lang="zh-CN" altLang="en-US"/>
              </a:p>
            </p:txBody>
          </p:sp>
          <p:sp>
            <p:nvSpPr>
              <p:cNvPr id="97" name="iṩḷídé">
                <a:extLst>
                  <a:ext uri="{FF2B5EF4-FFF2-40B4-BE49-F238E27FC236}">
                    <a16:creationId xmlns:a16="http://schemas.microsoft.com/office/drawing/2014/main" id="{CECF460B-D4C7-2D87-D9E0-8C71180714B9}"/>
                  </a:ext>
                </a:extLst>
              </p:cNvPr>
              <p:cNvSpPr/>
              <p:nvPr/>
            </p:nvSpPr>
            <p:spPr>
              <a:xfrm>
                <a:off x="4966689" y="5178468"/>
                <a:ext cx="107541" cy="134393"/>
              </a:xfrm>
              <a:custGeom>
                <a:avLst/>
                <a:gdLst>
                  <a:gd name="connsiteX0" fmla="*/ -566 w 107541"/>
                  <a:gd name="connsiteY0" fmla="*/ -187 h 134393"/>
                  <a:gd name="connsiteX1" fmla="*/ 106975 w 107541"/>
                  <a:gd name="connsiteY1" fmla="*/ 134207 h 134393"/>
                </a:gdLst>
                <a:ahLst/>
                <a:cxnLst>
                  <a:cxn ang="0">
                    <a:pos x="connsiteX0" y="connsiteY0"/>
                  </a:cxn>
                  <a:cxn ang="0">
                    <a:pos x="connsiteX1" y="connsiteY1"/>
                  </a:cxn>
                </a:cxnLst>
                <a:rect l="l" t="t" r="r" b="b"/>
                <a:pathLst>
                  <a:path w="107541" h="134393">
                    <a:moveTo>
                      <a:pt x="-566" y="-187"/>
                    </a:moveTo>
                    <a:cubicBezTo>
                      <a:pt x="-566" y="-187"/>
                      <a:pt x="-1873" y="79260"/>
                      <a:pt x="106975" y="134207"/>
                    </a:cubicBezTo>
                  </a:path>
                </a:pathLst>
              </a:custGeom>
              <a:noFill/>
              <a:ln w="1633" cap="rnd">
                <a:solidFill>
                  <a:srgbClr val="263238"/>
                </a:solidFill>
                <a:prstDash val="solid"/>
                <a:round/>
              </a:ln>
            </p:spPr>
            <p:txBody>
              <a:bodyPr rtlCol="0" anchor="ctr"/>
              <a:lstStyle/>
              <a:p>
                <a:endParaRPr lang="zh-CN" altLang="en-US"/>
              </a:p>
            </p:txBody>
          </p:sp>
          <p:sp>
            <p:nvSpPr>
              <p:cNvPr id="98" name="ïšḷíḍè">
                <a:extLst>
                  <a:ext uri="{FF2B5EF4-FFF2-40B4-BE49-F238E27FC236}">
                    <a16:creationId xmlns:a16="http://schemas.microsoft.com/office/drawing/2014/main" id="{0E4A6286-403E-FB6B-040E-5EDE5AA91B95}"/>
                  </a:ext>
                </a:extLst>
              </p:cNvPr>
              <p:cNvSpPr/>
              <p:nvPr/>
            </p:nvSpPr>
            <p:spPr>
              <a:xfrm>
                <a:off x="5880395" y="4855911"/>
                <a:ext cx="304851" cy="260032"/>
              </a:xfrm>
              <a:custGeom>
                <a:avLst/>
                <a:gdLst>
                  <a:gd name="connsiteX0" fmla="*/ 304285 w 304851"/>
                  <a:gd name="connsiteY0" fmla="*/ -187 h 260032"/>
                  <a:gd name="connsiteX1" fmla="*/ 97435 w 304851"/>
                  <a:gd name="connsiteY1" fmla="*/ 208884 h 260032"/>
                  <a:gd name="connsiteX2" fmla="*/ -567 w 304851"/>
                  <a:gd name="connsiteY2" fmla="*/ 259845 h 260032"/>
                </a:gdLst>
                <a:ahLst/>
                <a:cxnLst>
                  <a:cxn ang="0">
                    <a:pos x="connsiteX0" y="connsiteY0"/>
                  </a:cxn>
                  <a:cxn ang="0">
                    <a:pos x="connsiteX1" y="connsiteY1"/>
                  </a:cxn>
                  <a:cxn ang="0">
                    <a:pos x="connsiteX2" y="connsiteY2"/>
                  </a:cxn>
                </a:cxnLst>
                <a:rect l="l" t="t" r="r" b="b"/>
                <a:pathLst>
                  <a:path w="304851" h="260032">
                    <a:moveTo>
                      <a:pt x="304285" y="-187"/>
                    </a:moveTo>
                    <a:cubicBezTo>
                      <a:pt x="304285" y="-187"/>
                      <a:pt x="132063" y="125647"/>
                      <a:pt x="97435" y="208884"/>
                    </a:cubicBezTo>
                    <a:cubicBezTo>
                      <a:pt x="63481" y="223271"/>
                      <a:pt x="30709" y="240310"/>
                      <a:pt x="-567" y="259845"/>
                    </a:cubicBezTo>
                  </a:path>
                </a:pathLst>
              </a:custGeom>
              <a:noFill/>
              <a:ln w="1633" cap="rnd">
                <a:solidFill>
                  <a:srgbClr val="263238"/>
                </a:solidFill>
                <a:prstDash val="solid"/>
                <a:round/>
              </a:ln>
            </p:spPr>
            <p:txBody>
              <a:bodyPr rtlCol="0" anchor="ctr"/>
              <a:lstStyle/>
              <a:p>
                <a:endParaRPr lang="zh-CN" altLang="en-US"/>
              </a:p>
            </p:txBody>
          </p:sp>
          <p:sp>
            <p:nvSpPr>
              <p:cNvPr id="99" name="ïSḻîḍê">
                <a:extLst>
                  <a:ext uri="{FF2B5EF4-FFF2-40B4-BE49-F238E27FC236}">
                    <a16:creationId xmlns:a16="http://schemas.microsoft.com/office/drawing/2014/main" id="{BDCB4675-5EDB-EE8C-2CB5-1746A76C9789}"/>
                  </a:ext>
                </a:extLst>
              </p:cNvPr>
              <p:cNvSpPr/>
              <p:nvPr/>
            </p:nvSpPr>
            <p:spPr>
              <a:xfrm>
                <a:off x="5952275" y="4963451"/>
                <a:ext cx="18020" cy="107541"/>
              </a:xfrm>
              <a:custGeom>
                <a:avLst/>
                <a:gdLst>
                  <a:gd name="connsiteX0" fmla="*/ 17454 w 18020"/>
                  <a:gd name="connsiteY0" fmla="*/ -187 h 107541"/>
                  <a:gd name="connsiteX1" fmla="*/ 7588 w 18020"/>
                  <a:gd name="connsiteY1" fmla="*/ 107354 h 107541"/>
                </a:gdLst>
                <a:ahLst/>
                <a:cxnLst>
                  <a:cxn ang="0">
                    <a:pos x="connsiteX0" y="connsiteY0"/>
                  </a:cxn>
                  <a:cxn ang="0">
                    <a:pos x="connsiteX1" y="connsiteY1"/>
                  </a:cxn>
                </a:cxnLst>
                <a:rect l="l" t="t" r="r" b="b"/>
                <a:pathLst>
                  <a:path w="18020" h="107541">
                    <a:moveTo>
                      <a:pt x="17454" y="-187"/>
                    </a:moveTo>
                    <a:cubicBezTo>
                      <a:pt x="-2428" y="32160"/>
                      <a:pt x="-6073" y="71930"/>
                      <a:pt x="7588" y="107354"/>
                    </a:cubicBezTo>
                  </a:path>
                </a:pathLst>
              </a:custGeom>
              <a:noFill/>
              <a:ln w="1633" cap="rnd">
                <a:solidFill>
                  <a:srgbClr val="263238"/>
                </a:solidFill>
                <a:prstDash val="solid"/>
                <a:round/>
              </a:ln>
            </p:spPr>
            <p:txBody>
              <a:bodyPr rtlCol="0" anchor="ctr"/>
              <a:lstStyle/>
              <a:p>
                <a:endParaRPr lang="zh-CN" altLang="en-US"/>
              </a:p>
            </p:txBody>
          </p:sp>
          <p:sp>
            <p:nvSpPr>
              <p:cNvPr id="100" name="i$ľïḋê">
                <a:extLst>
                  <a:ext uri="{FF2B5EF4-FFF2-40B4-BE49-F238E27FC236}">
                    <a16:creationId xmlns:a16="http://schemas.microsoft.com/office/drawing/2014/main" id="{9509D230-6735-F318-54EA-DC0EBA16F9B6}"/>
                  </a:ext>
                </a:extLst>
              </p:cNvPr>
              <p:cNvSpPr/>
              <p:nvPr/>
            </p:nvSpPr>
            <p:spPr>
              <a:xfrm>
                <a:off x="5979247" y="4873812"/>
                <a:ext cx="26917" cy="44819"/>
              </a:xfrm>
              <a:custGeom>
                <a:avLst/>
                <a:gdLst>
                  <a:gd name="connsiteX0" fmla="*/ 26351 w 26917"/>
                  <a:gd name="connsiteY0" fmla="*/ -187 h 44819"/>
                  <a:gd name="connsiteX1" fmla="*/ -567 w 26917"/>
                  <a:gd name="connsiteY1" fmla="*/ 44633 h 44819"/>
                </a:gdLst>
                <a:ahLst/>
                <a:cxnLst>
                  <a:cxn ang="0">
                    <a:pos x="connsiteX0" y="connsiteY0"/>
                  </a:cxn>
                  <a:cxn ang="0">
                    <a:pos x="connsiteX1" y="connsiteY1"/>
                  </a:cxn>
                </a:cxnLst>
                <a:rect l="l" t="t" r="r" b="b"/>
                <a:pathLst>
                  <a:path w="26917" h="44819">
                    <a:moveTo>
                      <a:pt x="26351" y="-187"/>
                    </a:moveTo>
                    <a:cubicBezTo>
                      <a:pt x="16133" y="13971"/>
                      <a:pt x="7130" y="28959"/>
                      <a:pt x="-567" y="44633"/>
                    </a:cubicBezTo>
                  </a:path>
                </a:pathLst>
              </a:custGeom>
              <a:noFill/>
              <a:ln w="1633" cap="rnd">
                <a:solidFill>
                  <a:srgbClr val="263238"/>
                </a:solidFill>
                <a:prstDash val="solid"/>
                <a:round/>
              </a:ln>
            </p:spPr>
            <p:txBody>
              <a:bodyPr rtlCol="0" anchor="ctr"/>
              <a:lstStyle/>
              <a:p>
                <a:endParaRPr lang="zh-CN" altLang="en-US"/>
              </a:p>
            </p:txBody>
          </p:sp>
          <p:sp>
            <p:nvSpPr>
              <p:cNvPr id="101" name="íṡḻídè">
                <a:extLst>
                  <a:ext uri="{FF2B5EF4-FFF2-40B4-BE49-F238E27FC236}">
                    <a16:creationId xmlns:a16="http://schemas.microsoft.com/office/drawing/2014/main" id="{8C60CD8F-D78B-F96F-1B5E-EFACFD849921}"/>
                  </a:ext>
                </a:extLst>
              </p:cNvPr>
              <p:cNvSpPr/>
              <p:nvPr/>
            </p:nvSpPr>
            <p:spPr>
              <a:xfrm>
                <a:off x="5683346" y="4864862"/>
                <a:ext cx="71868" cy="143736"/>
              </a:xfrm>
              <a:custGeom>
                <a:avLst/>
                <a:gdLst>
                  <a:gd name="connsiteX0" fmla="*/ 71301 w 71868"/>
                  <a:gd name="connsiteY0" fmla="*/ -187 h 143736"/>
                  <a:gd name="connsiteX1" fmla="*/ -567 w 71868"/>
                  <a:gd name="connsiteY1" fmla="*/ 143549 h 143736"/>
                </a:gdLst>
                <a:ahLst/>
                <a:cxnLst>
                  <a:cxn ang="0">
                    <a:pos x="connsiteX0" y="connsiteY0"/>
                  </a:cxn>
                  <a:cxn ang="0">
                    <a:pos x="connsiteX1" y="connsiteY1"/>
                  </a:cxn>
                </a:cxnLst>
                <a:rect l="l" t="t" r="r" b="b"/>
                <a:pathLst>
                  <a:path w="71868" h="143736">
                    <a:moveTo>
                      <a:pt x="71301" y="-187"/>
                    </a:moveTo>
                    <a:cubicBezTo>
                      <a:pt x="71301" y="-187"/>
                      <a:pt x="13872" y="78999"/>
                      <a:pt x="-567" y="143549"/>
                    </a:cubicBezTo>
                  </a:path>
                </a:pathLst>
              </a:custGeom>
              <a:noFill/>
              <a:ln w="1633" cap="rnd">
                <a:solidFill>
                  <a:srgbClr val="263238"/>
                </a:solidFill>
                <a:prstDash val="solid"/>
                <a:round/>
              </a:ln>
            </p:spPr>
            <p:txBody>
              <a:bodyPr rtlCol="0" anchor="ctr"/>
              <a:lstStyle/>
              <a:p>
                <a:endParaRPr lang="zh-CN" altLang="en-US"/>
              </a:p>
            </p:txBody>
          </p:sp>
          <p:sp>
            <p:nvSpPr>
              <p:cNvPr id="102" name="îşlîďè">
                <a:extLst>
                  <a:ext uri="{FF2B5EF4-FFF2-40B4-BE49-F238E27FC236}">
                    <a16:creationId xmlns:a16="http://schemas.microsoft.com/office/drawing/2014/main" id="{A00A5AD9-41BB-BD4D-953F-2CFE8C2C8466}"/>
                  </a:ext>
                </a:extLst>
              </p:cNvPr>
              <p:cNvSpPr/>
              <p:nvPr/>
            </p:nvSpPr>
            <p:spPr>
              <a:xfrm>
                <a:off x="5369870" y="5330829"/>
                <a:ext cx="62721" cy="8950"/>
              </a:xfrm>
              <a:custGeom>
                <a:avLst/>
                <a:gdLst>
                  <a:gd name="connsiteX0" fmla="*/ 62155 w 62721"/>
                  <a:gd name="connsiteY0" fmla="*/ 8764 h 8950"/>
                  <a:gd name="connsiteX1" fmla="*/ -567 w 62721"/>
                  <a:gd name="connsiteY1" fmla="*/ -187 h 8950"/>
                </a:gdLst>
                <a:ahLst/>
                <a:cxnLst>
                  <a:cxn ang="0">
                    <a:pos x="connsiteX0" y="connsiteY0"/>
                  </a:cxn>
                  <a:cxn ang="0">
                    <a:pos x="connsiteX1" y="connsiteY1"/>
                  </a:cxn>
                </a:cxnLst>
                <a:rect l="l" t="t" r="r" b="b"/>
                <a:pathLst>
                  <a:path w="62721" h="8950">
                    <a:moveTo>
                      <a:pt x="62155" y="8764"/>
                    </a:moveTo>
                    <a:cubicBezTo>
                      <a:pt x="41058" y="7313"/>
                      <a:pt x="20092" y="4321"/>
                      <a:pt x="-567" y="-187"/>
                    </a:cubicBezTo>
                  </a:path>
                </a:pathLst>
              </a:custGeom>
              <a:noFill/>
              <a:ln w="1633" cap="rnd">
                <a:solidFill>
                  <a:srgbClr val="263238"/>
                </a:solidFill>
                <a:prstDash val="solid"/>
                <a:round/>
              </a:ln>
            </p:spPr>
            <p:txBody>
              <a:bodyPr rtlCol="0" anchor="ctr"/>
              <a:lstStyle/>
              <a:p>
                <a:endParaRPr lang="zh-CN" altLang="en-US"/>
              </a:p>
            </p:txBody>
          </p:sp>
          <p:sp>
            <p:nvSpPr>
              <p:cNvPr id="103" name="íŝļïḍê">
                <a:extLst>
                  <a:ext uri="{FF2B5EF4-FFF2-40B4-BE49-F238E27FC236}">
                    <a16:creationId xmlns:a16="http://schemas.microsoft.com/office/drawing/2014/main" id="{FD706DC6-7A80-E652-F24E-A062FB8286D2}"/>
                  </a:ext>
                </a:extLst>
              </p:cNvPr>
              <p:cNvSpPr/>
              <p:nvPr/>
            </p:nvSpPr>
            <p:spPr>
              <a:xfrm>
                <a:off x="5477411" y="5286009"/>
                <a:ext cx="501770" cy="53770"/>
              </a:xfrm>
              <a:custGeom>
                <a:avLst/>
                <a:gdLst>
                  <a:gd name="connsiteX0" fmla="*/ 501204 w 501770"/>
                  <a:gd name="connsiteY0" fmla="*/ -187 h 53770"/>
                  <a:gd name="connsiteX1" fmla="*/ -567 w 501770"/>
                  <a:gd name="connsiteY1" fmla="*/ 53584 h 53770"/>
                </a:gdLst>
                <a:ahLst/>
                <a:cxnLst>
                  <a:cxn ang="0">
                    <a:pos x="connsiteX0" y="connsiteY0"/>
                  </a:cxn>
                  <a:cxn ang="0">
                    <a:pos x="connsiteX1" y="connsiteY1"/>
                  </a:cxn>
                </a:cxnLst>
                <a:rect l="l" t="t" r="r" b="b"/>
                <a:pathLst>
                  <a:path w="501770" h="53770">
                    <a:moveTo>
                      <a:pt x="501204" y="-187"/>
                    </a:moveTo>
                    <a:cubicBezTo>
                      <a:pt x="335548" y="30410"/>
                      <a:pt x="167807" y="48383"/>
                      <a:pt x="-567" y="53584"/>
                    </a:cubicBezTo>
                  </a:path>
                </a:pathLst>
              </a:custGeom>
              <a:noFill/>
              <a:ln w="1633" cap="rnd">
                <a:solidFill>
                  <a:srgbClr val="263238"/>
                </a:solidFill>
                <a:prstDash val="solid"/>
                <a:round/>
              </a:ln>
            </p:spPr>
            <p:txBody>
              <a:bodyPr rtlCol="0" anchor="ctr"/>
              <a:lstStyle/>
              <a:p>
                <a:endParaRPr lang="zh-CN" altLang="en-US"/>
              </a:p>
            </p:txBody>
          </p:sp>
          <p:sp>
            <p:nvSpPr>
              <p:cNvPr id="104" name="íṩḻíde">
                <a:extLst>
                  <a:ext uri="{FF2B5EF4-FFF2-40B4-BE49-F238E27FC236}">
                    <a16:creationId xmlns:a16="http://schemas.microsoft.com/office/drawing/2014/main" id="{DCAAC6ED-2DB0-44F3-BC7D-562DE14BB492}"/>
                  </a:ext>
                </a:extLst>
              </p:cNvPr>
              <p:cNvSpPr/>
              <p:nvPr/>
            </p:nvSpPr>
            <p:spPr>
              <a:xfrm>
                <a:off x="4800935" y="3991271"/>
                <a:ext cx="931868" cy="770688"/>
              </a:xfrm>
              <a:custGeom>
                <a:avLst/>
                <a:gdLst>
                  <a:gd name="connsiteX0" fmla="*/ -567 w 931868"/>
                  <a:gd name="connsiteY0" fmla="*/ 102976 h 770688"/>
                  <a:gd name="connsiteX1" fmla="*/ 68231 w 931868"/>
                  <a:gd name="connsiteY1" fmla="*/ 681058 h 770688"/>
                  <a:gd name="connsiteX2" fmla="*/ 275407 w 931868"/>
                  <a:gd name="connsiteY2" fmla="*/ 731301 h 770688"/>
                  <a:gd name="connsiteX3" fmla="*/ 878316 w 931868"/>
                  <a:gd name="connsiteY3" fmla="*/ 770502 h 770688"/>
                  <a:gd name="connsiteX4" fmla="*/ 931302 w 931868"/>
                  <a:gd name="connsiteY4" fmla="*/ 613698 h 770688"/>
                  <a:gd name="connsiteX5" fmla="*/ 553798 w 931868"/>
                  <a:gd name="connsiteY5" fmla="*/ 545031 h 770688"/>
                  <a:gd name="connsiteX6" fmla="*/ 285926 w 931868"/>
                  <a:gd name="connsiteY6" fmla="*/ 474927 h 770688"/>
                  <a:gd name="connsiteX7" fmla="*/ 308009 w 931868"/>
                  <a:gd name="connsiteY7" fmla="*/ 278204 h 770688"/>
                  <a:gd name="connsiteX8" fmla="*/ 308009 w 931868"/>
                  <a:gd name="connsiteY8" fmla="*/ -187 h 770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31868" h="770688">
                    <a:moveTo>
                      <a:pt x="-567" y="102976"/>
                    </a:moveTo>
                    <a:cubicBezTo>
                      <a:pt x="-567" y="102976"/>
                      <a:pt x="30990" y="649698"/>
                      <a:pt x="68231" y="681058"/>
                    </a:cubicBezTo>
                    <a:cubicBezTo>
                      <a:pt x="105471" y="712419"/>
                      <a:pt x="164207" y="722088"/>
                      <a:pt x="275407" y="731301"/>
                    </a:cubicBezTo>
                    <a:cubicBezTo>
                      <a:pt x="386607" y="740513"/>
                      <a:pt x="878316" y="770502"/>
                      <a:pt x="878316" y="770502"/>
                    </a:cubicBezTo>
                    <a:lnTo>
                      <a:pt x="931302" y="613698"/>
                    </a:lnTo>
                    <a:cubicBezTo>
                      <a:pt x="931302" y="613698"/>
                      <a:pt x="669963" y="587042"/>
                      <a:pt x="553798" y="545031"/>
                    </a:cubicBezTo>
                    <a:cubicBezTo>
                      <a:pt x="466282" y="515343"/>
                      <a:pt x="376767" y="491914"/>
                      <a:pt x="285926" y="474927"/>
                    </a:cubicBezTo>
                    <a:cubicBezTo>
                      <a:pt x="285926" y="474927"/>
                      <a:pt x="308009" y="337724"/>
                      <a:pt x="308009" y="278204"/>
                    </a:cubicBezTo>
                    <a:lnTo>
                      <a:pt x="308009" y="-187"/>
                    </a:lnTo>
                  </a:path>
                </a:pathLst>
              </a:custGeom>
              <a:solidFill>
                <a:srgbClr val="F49C92"/>
              </a:solidFill>
              <a:ln w="6531" cap="flat">
                <a:noFill/>
                <a:prstDash val="solid"/>
                <a:miter/>
              </a:ln>
            </p:spPr>
            <p:txBody>
              <a:bodyPr rtlCol="0" anchor="ctr"/>
              <a:lstStyle/>
              <a:p>
                <a:endParaRPr lang="zh-CN" altLang="en-US"/>
              </a:p>
            </p:txBody>
          </p:sp>
          <p:sp>
            <p:nvSpPr>
              <p:cNvPr id="105" name="ïṧḻîḍe">
                <a:extLst>
                  <a:ext uri="{FF2B5EF4-FFF2-40B4-BE49-F238E27FC236}">
                    <a16:creationId xmlns:a16="http://schemas.microsoft.com/office/drawing/2014/main" id="{4F76B4CA-841C-3991-EE3A-3997CD63CA06}"/>
                  </a:ext>
                </a:extLst>
              </p:cNvPr>
              <p:cNvSpPr/>
              <p:nvPr/>
            </p:nvSpPr>
            <p:spPr>
              <a:xfrm>
                <a:off x="4765092" y="3489500"/>
                <a:ext cx="403197" cy="672098"/>
              </a:xfrm>
              <a:custGeom>
                <a:avLst/>
                <a:gdLst>
                  <a:gd name="connsiteX0" fmla="*/ 132102 w 403197"/>
                  <a:gd name="connsiteY0" fmla="*/ -187 h 672098"/>
                  <a:gd name="connsiteX1" fmla="*/ 16329 w 403197"/>
                  <a:gd name="connsiteY1" fmla="*/ 607426 h 672098"/>
                  <a:gd name="connsiteX2" fmla="*/ 33577 w 403197"/>
                  <a:gd name="connsiteY2" fmla="*/ 671911 h 672098"/>
                  <a:gd name="connsiteX3" fmla="*/ 325623 w 403197"/>
                  <a:gd name="connsiteY3" fmla="*/ 649175 h 672098"/>
                  <a:gd name="connsiteX4" fmla="*/ 394029 w 403197"/>
                  <a:gd name="connsiteY4" fmla="*/ 579593 h 672098"/>
                  <a:gd name="connsiteX5" fmla="*/ 347772 w 403197"/>
                  <a:gd name="connsiteY5" fmla="*/ 184579 h 672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197" h="672098">
                    <a:moveTo>
                      <a:pt x="132102" y="-187"/>
                    </a:moveTo>
                    <a:cubicBezTo>
                      <a:pt x="10187" y="73510"/>
                      <a:pt x="-25812" y="243773"/>
                      <a:pt x="16329" y="607426"/>
                    </a:cubicBezTo>
                    <a:cubicBezTo>
                      <a:pt x="16329" y="607426"/>
                      <a:pt x="-19671" y="650416"/>
                      <a:pt x="33577" y="671911"/>
                    </a:cubicBezTo>
                    <a:cubicBezTo>
                      <a:pt x="33577" y="671911"/>
                      <a:pt x="232979" y="598736"/>
                      <a:pt x="325623" y="649175"/>
                    </a:cubicBezTo>
                    <a:cubicBezTo>
                      <a:pt x="418268" y="699613"/>
                      <a:pt x="394029" y="579593"/>
                      <a:pt x="394029" y="579593"/>
                    </a:cubicBezTo>
                    <a:cubicBezTo>
                      <a:pt x="394029" y="579593"/>
                      <a:pt x="432184" y="245145"/>
                      <a:pt x="347772" y="184579"/>
                    </a:cubicBezTo>
                  </a:path>
                </a:pathLst>
              </a:custGeom>
              <a:solidFill>
                <a:srgbClr val="F1C649"/>
              </a:solidFill>
              <a:ln w="6531" cap="flat">
                <a:noFill/>
                <a:prstDash val="solid"/>
                <a:miter/>
              </a:ln>
            </p:spPr>
            <p:txBody>
              <a:bodyPr rtlCol="0" anchor="ctr"/>
              <a:lstStyle/>
              <a:p>
                <a:endParaRPr lang="zh-CN" altLang="en-US"/>
              </a:p>
            </p:txBody>
          </p:sp>
          <p:sp>
            <p:nvSpPr>
              <p:cNvPr id="106" name="íṡlïḓé">
                <a:extLst>
                  <a:ext uri="{FF2B5EF4-FFF2-40B4-BE49-F238E27FC236}">
                    <a16:creationId xmlns:a16="http://schemas.microsoft.com/office/drawing/2014/main" id="{23344236-59AA-0888-5A25-BB2B87733162}"/>
                  </a:ext>
                </a:extLst>
              </p:cNvPr>
              <p:cNvSpPr/>
              <p:nvPr/>
            </p:nvSpPr>
            <p:spPr>
              <a:xfrm>
                <a:off x="5119442" y="3628336"/>
                <a:ext cx="53413" cy="528688"/>
              </a:xfrm>
              <a:custGeom>
                <a:avLst/>
                <a:gdLst>
                  <a:gd name="connsiteX0" fmla="*/ -110 w 53413"/>
                  <a:gd name="connsiteY0" fmla="*/ -187 h 528688"/>
                  <a:gd name="connsiteX1" fmla="*/ 12957 w 53413"/>
                  <a:gd name="connsiteY1" fmla="*/ 422398 h 528688"/>
                  <a:gd name="connsiteX2" fmla="*/ 26024 w 53413"/>
                  <a:gd name="connsiteY2" fmla="*/ 497729 h 528688"/>
                  <a:gd name="connsiteX3" fmla="*/ -567 w 53413"/>
                  <a:gd name="connsiteY3" fmla="*/ 528502 h 528688"/>
                </a:gdLst>
                <a:ahLst/>
                <a:cxnLst>
                  <a:cxn ang="0">
                    <a:pos x="connsiteX0" y="connsiteY0"/>
                  </a:cxn>
                  <a:cxn ang="0">
                    <a:pos x="connsiteX1" y="connsiteY1"/>
                  </a:cxn>
                  <a:cxn ang="0">
                    <a:pos x="connsiteX2" y="connsiteY2"/>
                  </a:cxn>
                  <a:cxn ang="0">
                    <a:pos x="connsiteX3" y="connsiteY3"/>
                  </a:cxn>
                </a:cxnLst>
                <a:rect l="l" t="t" r="r" b="b"/>
                <a:pathLst>
                  <a:path w="53413" h="528688">
                    <a:moveTo>
                      <a:pt x="-110" y="-187"/>
                    </a:moveTo>
                    <a:cubicBezTo>
                      <a:pt x="-110" y="-187"/>
                      <a:pt x="109783" y="119637"/>
                      <a:pt x="12957" y="422398"/>
                    </a:cubicBezTo>
                    <a:cubicBezTo>
                      <a:pt x="19171" y="447153"/>
                      <a:pt x="23541" y="472327"/>
                      <a:pt x="26024" y="497729"/>
                    </a:cubicBezTo>
                    <a:cubicBezTo>
                      <a:pt x="26024" y="517983"/>
                      <a:pt x="-567" y="528502"/>
                      <a:pt x="-567" y="528502"/>
                    </a:cubicBezTo>
                  </a:path>
                </a:pathLst>
              </a:custGeom>
              <a:noFill/>
              <a:ln w="1633" cap="rnd">
                <a:solidFill>
                  <a:srgbClr val="263238"/>
                </a:solidFill>
                <a:prstDash val="solid"/>
                <a:round/>
              </a:ln>
            </p:spPr>
            <p:txBody>
              <a:bodyPr rtlCol="0" anchor="ctr"/>
              <a:lstStyle/>
              <a:p>
                <a:endParaRPr lang="zh-CN" altLang="en-US"/>
              </a:p>
            </p:txBody>
          </p:sp>
          <p:sp>
            <p:nvSpPr>
              <p:cNvPr id="107" name="îṡḷíḓè">
                <a:extLst>
                  <a:ext uri="{FF2B5EF4-FFF2-40B4-BE49-F238E27FC236}">
                    <a16:creationId xmlns:a16="http://schemas.microsoft.com/office/drawing/2014/main" id="{284A7CB4-8CFC-9CD6-6F28-3C8A8125859C}"/>
                  </a:ext>
                </a:extLst>
              </p:cNvPr>
              <p:cNvSpPr/>
              <p:nvPr/>
            </p:nvSpPr>
            <p:spPr>
              <a:xfrm>
                <a:off x="5154853" y="3834467"/>
                <a:ext cx="98589" cy="206065"/>
              </a:xfrm>
              <a:custGeom>
                <a:avLst/>
                <a:gdLst>
                  <a:gd name="connsiteX0" fmla="*/ 98023 w 98589"/>
                  <a:gd name="connsiteY0" fmla="*/ -187 h 206065"/>
                  <a:gd name="connsiteX1" fmla="*/ -567 w 98589"/>
                  <a:gd name="connsiteY1" fmla="*/ 205879 h 206065"/>
                </a:gdLst>
                <a:ahLst/>
                <a:cxnLst>
                  <a:cxn ang="0">
                    <a:pos x="connsiteX0" y="connsiteY0"/>
                  </a:cxn>
                  <a:cxn ang="0">
                    <a:pos x="connsiteX1" y="connsiteY1"/>
                  </a:cxn>
                </a:cxnLst>
                <a:rect l="l" t="t" r="r" b="b"/>
                <a:pathLst>
                  <a:path w="98589" h="206065">
                    <a:moveTo>
                      <a:pt x="98023" y="-187"/>
                    </a:moveTo>
                    <a:cubicBezTo>
                      <a:pt x="98023" y="-187"/>
                      <a:pt x="89791" y="143549"/>
                      <a:pt x="-567" y="205879"/>
                    </a:cubicBezTo>
                  </a:path>
                </a:pathLst>
              </a:custGeom>
              <a:noFill/>
              <a:ln w="1633" cap="rnd">
                <a:solidFill>
                  <a:srgbClr val="263238"/>
                </a:solidFill>
                <a:prstDash val="solid"/>
                <a:round/>
              </a:ln>
            </p:spPr>
            <p:txBody>
              <a:bodyPr rtlCol="0" anchor="ctr"/>
              <a:lstStyle/>
              <a:p>
                <a:endParaRPr lang="zh-CN" altLang="en-US"/>
              </a:p>
            </p:txBody>
          </p:sp>
          <p:sp>
            <p:nvSpPr>
              <p:cNvPr id="108" name="iś1îḍê">
                <a:extLst>
                  <a:ext uri="{FF2B5EF4-FFF2-40B4-BE49-F238E27FC236}">
                    <a16:creationId xmlns:a16="http://schemas.microsoft.com/office/drawing/2014/main" id="{A34C3175-CE69-914D-79A7-8180933C5F73}"/>
                  </a:ext>
                </a:extLst>
              </p:cNvPr>
              <p:cNvSpPr/>
              <p:nvPr/>
            </p:nvSpPr>
            <p:spPr>
              <a:xfrm>
                <a:off x="5271660" y="4792993"/>
                <a:ext cx="1290247" cy="89835"/>
              </a:xfrm>
              <a:custGeom>
                <a:avLst/>
                <a:gdLst>
                  <a:gd name="connsiteX0" fmla="*/ 1237016 w 1290247"/>
                  <a:gd name="connsiteY0" fmla="*/ 89648 h 89835"/>
                  <a:gd name="connsiteX1" fmla="*/ 265096 w 1290247"/>
                  <a:gd name="connsiteY1" fmla="*/ 89648 h 89835"/>
                  <a:gd name="connsiteX2" fmla="*/ 199761 w 1290247"/>
                  <a:gd name="connsiteY2" fmla="*/ 80501 h 89835"/>
                  <a:gd name="connsiteX3" fmla="*/ 8723 w 1290247"/>
                  <a:gd name="connsiteY3" fmla="*/ 26339 h 89835"/>
                  <a:gd name="connsiteX4" fmla="*/ -555 w 1290247"/>
                  <a:gd name="connsiteY4" fmla="*/ 13272 h 89835"/>
                  <a:gd name="connsiteX5" fmla="*/ 11924 w 1290247"/>
                  <a:gd name="connsiteY5" fmla="*/ -187 h 89835"/>
                  <a:gd name="connsiteX6" fmla="*/ 1277327 w 1290247"/>
                  <a:gd name="connsiteY6" fmla="*/ -187 h 89835"/>
                  <a:gd name="connsiteX7" fmla="*/ 1289676 w 1290247"/>
                  <a:gd name="connsiteY7" fmla="*/ 13272 h 89835"/>
                  <a:gd name="connsiteX8" fmla="*/ 1289676 w 1290247"/>
                  <a:gd name="connsiteY8" fmla="*/ 32872 h 89835"/>
                  <a:gd name="connsiteX9" fmla="*/ 1237016 w 1290247"/>
                  <a:gd name="connsiteY9" fmla="*/ 89648 h 89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90247" h="89835">
                    <a:moveTo>
                      <a:pt x="1237016" y="89648"/>
                    </a:moveTo>
                    <a:lnTo>
                      <a:pt x="265096" y="89648"/>
                    </a:lnTo>
                    <a:cubicBezTo>
                      <a:pt x="242993" y="89681"/>
                      <a:pt x="221002" y="86597"/>
                      <a:pt x="199761" y="80501"/>
                    </a:cubicBezTo>
                    <a:lnTo>
                      <a:pt x="8723" y="26339"/>
                    </a:lnTo>
                    <a:cubicBezTo>
                      <a:pt x="3006" y="24614"/>
                      <a:pt x="-810" y="19237"/>
                      <a:pt x="-555" y="13272"/>
                    </a:cubicBezTo>
                    <a:cubicBezTo>
                      <a:pt x="-777" y="6131"/>
                      <a:pt x="4783" y="133"/>
                      <a:pt x="11924" y="-187"/>
                    </a:cubicBezTo>
                    <a:lnTo>
                      <a:pt x="1277327" y="-187"/>
                    </a:lnTo>
                    <a:cubicBezTo>
                      <a:pt x="1284449" y="198"/>
                      <a:pt x="1289872" y="6177"/>
                      <a:pt x="1289676" y="13272"/>
                    </a:cubicBezTo>
                    <a:lnTo>
                      <a:pt x="1289676" y="32872"/>
                    </a:lnTo>
                    <a:cubicBezTo>
                      <a:pt x="1289284" y="64298"/>
                      <a:pt x="1265828" y="89648"/>
                      <a:pt x="1237016" y="89648"/>
                    </a:cubicBezTo>
                    <a:close/>
                  </a:path>
                </a:pathLst>
              </a:custGeom>
              <a:solidFill>
                <a:srgbClr val="252530"/>
              </a:solidFill>
              <a:ln w="6531" cap="flat">
                <a:noFill/>
                <a:prstDash val="solid"/>
                <a:miter/>
              </a:ln>
            </p:spPr>
            <p:txBody>
              <a:bodyPr rtlCol="0" anchor="ctr"/>
              <a:lstStyle/>
              <a:p>
                <a:endParaRPr lang="zh-CN" altLang="en-US"/>
              </a:p>
            </p:txBody>
          </p:sp>
          <p:sp>
            <p:nvSpPr>
              <p:cNvPr id="109" name="í$ḷîḑê">
                <a:extLst>
                  <a:ext uri="{FF2B5EF4-FFF2-40B4-BE49-F238E27FC236}">
                    <a16:creationId xmlns:a16="http://schemas.microsoft.com/office/drawing/2014/main" id="{02984570-A28E-8070-4AC7-5B70B903C6BB}"/>
                  </a:ext>
                </a:extLst>
              </p:cNvPr>
              <p:cNvSpPr/>
              <p:nvPr/>
            </p:nvSpPr>
            <p:spPr>
              <a:xfrm>
                <a:off x="5271660" y="4792993"/>
                <a:ext cx="1290247" cy="89835"/>
              </a:xfrm>
              <a:custGeom>
                <a:avLst/>
                <a:gdLst>
                  <a:gd name="connsiteX0" fmla="*/ 1237016 w 1290247"/>
                  <a:gd name="connsiteY0" fmla="*/ 89648 h 89835"/>
                  <a:gd name="connsiteX1" fmla="*/ 265096 w 1290247"/>
                  <a:gd name="connsiteY1" fmla="*/ 89648 h 89835"/>
                  <a:gd name="connsiteX2" fmla="*/ 199761 w 1290247"/>
                  <a:gd name="connsiteY2" fmla="*/ 80501 h 89835"/>
                  <a:gd name="connsiteX3" fmla="*/ 8723 w 1290247"/>
                  <a:gd name="connsiteY3" fmla="*/ 26339 h 89835"/>
                  <a:gd name="connsiteX4" fmla="*/ -555 w 1290247"/>
                  <a:gd name="connsiteY4" fmla="*/ 13272 h 89835"/>
                  <a:gd name="connsiteX5" fmla="*/ 11924 w 1290247"/>
                  <a:gd name="connsiteY5" fmla="*/ -187 h 89835"/>
                  <a:gd name="connsiteX6" fmla="*/ 1277327 w 1290247"/>
                  <a:gd name="connsiteY6" fmla="*/ -187 h 89835"/>
                  <a:gd name="connsiteX7" fmla="*/ 1289676 w 1290247"/>
                  <a:gd name="connsiteY7" fmla="*/ 13272 h 89835"/>
                  <a:gd name="connsiteX8" fmla="*/ 1289676 w 1290247"/>
                  <a:gd name="connsiteY8" fmla="*/ 32872 h 89835"/>
                  <a:gd name="connsiteX9" fmla="*/ 1237016 w 1290247"/>
                  <a:gd name="connsiteY9" fmla="*/ 89648 h 89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90247" h="89835">
                    <a:moveTo>
                      <a:pt x="1237016" y="89648"/>
                    </a:moveTo>
                    <a:lnTo>
                      <a:pt x="265096" y="89648"/>
                    </a:lnTo>
                    <a:cubicBezTo>
                      <a:pt x="242993" y="89681"/>
                      <a:pt x="221002" y="86597"/>
                      <a:pt x="199761" y="80501"/>
                    </a:cubicBezTo>
                    <a:lnTo>
                      <a:pt x="8723" y="26339"/>
                    </a:lnTo>
                    <a:cubicBezTo>
                      <a:pt x="3006" y="24614"/>
                      <a:pt x="-810" y="19237"/>
                      <a:pt x="-555" y="13272"/>
                    </a:cubicBezTo>
                    <a:cubicBezTo>
                      <a:pt x="-777" y="6131"/>
                      <a:pt x="4783" y="133"/>
                      <a:pt x="11924" y="-187"/>
                    </a:cubicBezTo>
                    <a:lnTo>
                      <a:pt x="1277327" y="-187"/>
                    </a:lnTo>
                    <a:cubicBezTo>
                      <a:pt x="1284449" y="198"/>
                      <a:pt x="1289872" y="6177"/>
                      <a:pt x="1289676" y="13272"/>
                    </a:cubicBezTo>
                    <a:lnTo>
                      <a:pt x="1289676" y="32872"/>
                    </a:lnTo>
                    <a:cubicBezTo>
                      <a:pt x="1289284" y="64298"/>
                      <a:pt x="1265828" y="89648"/>
                      <a:pt x="1237016" y="89648"/>
                    </a:cubicBezTo>
                    <a:close/>
                  </a:path>
                </a:pathLst>
              </a:custGeom>
              <a:noFill/>
              <a:ln w="1633" cap="rnd">
                <a:solidFill>
                  <a:srgbClr val="263238"/>
                </a:solidFill>
                <a:prstDash val="solid"/>
                <a:round/>
              </a:ln>
            </p:spPr>
            <p:txBody>
              <a:bodyPr rtlCol="0" anchor="ctr"/>
              <a:lstStyle/>
              <a:p>
                <a:endParaRPr lang="zh-CN" altLang="en-US"/>
              </a:p>
            </p:txBody>
          </p:sp>
          <p:sp>
            <p:nvSpPr>
              <p:cNvPr id="111" name="íṧľíḋé">
                <a:extLst>
                  <a:ext uri="{FF2B5EF4-FFF2-40B4-BE49-F238E27FC236}">
                    <a16:creationId xmlns:a16="http://schemas.microsoft.com/office/drawing/2014/main" id="{E1273880-16ED-531B-7286-757321E5287A}"/>
                  </a:ext>
                </a:extLst>
              </p:cNvPr>
              <p:cNvSpPr/>
              <p:nvPr/>
            </p:nvSpPr>
            <p:spPr>
              <a:xfrm>
                <a:off x="5603081" y="4067429"/>
                <a:ext cx="1218744" cy="761592"/>
              </a:xfrm>
              <a:custGeom>
                <a:avLst/>
                <a:gdLst>
                  <a:gd name="connsiteX0" fmla="*/ 996671 w 1218744"/>
                  <a:gd name="connsiteY0" fmla="*/ 761377 h 761592"/>
                  <a:gd name="connsiteX1" fmla="*/ 23576 w 1218744"/>
                  <a:gd name="connsiteY1" fmla="*/ 761377 h 761592"/>
                  <a:gd name="connsiteX2" fmla="*/ -533 w 1218744"/>
                  <a:gd name="connsiteY2" fmla="*/ 739542 h 761592"/>
                  <a:gd name="connsiteX3" fmla="*/ -533 w 1218744"/>
                  <a:gd name="connsiteY3" fmla="*/ 739489 h 761592"/>
                  <a:gd name="connsiteX4" fmla="*/ 839 w 1218744"/>
                  <a:gd name="connsiteY4" fmla="*/ 730408 h 761592"/>
                  <a:gd name="connsiteX5" fmla="*/ 181359 w 1218744"/>
                  <a:gd name="connsiteY5" fmla="*/ 30934 h 761592"/>
                  <a:gd name="connsiteX6" fmla="*/ 220560 w 1218744"/>
                  <a:gd name="connsiteY6" fmla="*/ -165 h 761592"/>
                  <a:gd name="connsiteX7" fmla="*/ 1194048 w 1218744"/>
                  <a:gd name="connsiteY7" fmla="*/ -165 h 761592"/>
                  <a:gd name="connsiteX8" fmla="*/ 1218156 w 1218744"/>
                  <a:gd name="connsiteY8" fmla="*/ 21944 h 761592"/>
                  <a:gd name="connsiteX9" fmla="*/ 1218156 w 1218744"/>
                  <a:gd name="connsiteY9" fmla="*/ 22049 h 761592"/>
                  <a:gd name="connsiteX10" fmla="*/ 1216719 w 1218744"/>
                  <a:gd name="connsiteY10" fmla="*/ 30934 h 761592"/>
                  <a:gd name="connsiteX11" fmla="*/ 1036133 w 1218744"/>
                  <a:gd name="connsiteY11" fmla="*/ 730408 h 761592"/>
                  <a:gd name="connsiteX12" fmla="*/ 996671 w 1218744"/>
                  <a:gd name="connsiteY12" fmla="*/ 761377 h 761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8744" h="761592">
                    <a:moveTo>
                      <a:pt x="996671" y="761377"/>
                    </a:moveTo>
                    <a:lnTo>
                      <a:pt x="23576" y="761377"/>
                    </a:lnTo>
                    <a:cubicBezTo>
                      <a:pt x="10888" y="762004"/>
                      <a:pt x="94" y="752230"/>
                      <a:pt x="-533" y="739542"/>
                    </a:cubicBezTo>
                    <a:cubicBezTo>
                      <a:pt x="-533" y="739522"/>
                      <a:pt x="-533" y="739509"/>
                      <a:pt x="-533" y="739489"/>
                    </a:cubicBezTo>
                    <a:cubicBezTo>
                      <a:pt x="-703" y="736399"/>
                      <a:pt x="-232" y="733309"/>
                      <a:pt x="839" y="730408"/>
                    </a:cubicBezTo>
                    <a:lnTo>
                      <a:pt x="181359" y="30934"/>
                    </a:lnTo>
                    <a:cubicBezTo>
                      <a:pt x="186390" y="13222"/>
                      <a:pt x="202168" y="704"/>
                      <a:pt x="220560" y="-165"/>
                    </a:cubicBezTo>
                    <a:lnTo>
                      <a:pt x="1194048" y="-165"/>
                    </a:lnTo>
                    <a:cubicBezTo>
                      <a:pt x="1206788" y="-714"/>
                      <a:pt x="1217633" y="9184"/>
                      <a:pt x="1218156" y="21944"/>
                    </a:cubicBezTo>
                    <a:cubicBezTo>
                      <a:pt x="1218156" y="21977"/>
                      <a:pt x="1218156" y="22016"/>
                      <a:pt x="1218156" y="22049"/>
                    </a:cubicBezTo>
                    <a:cubicBezTo>
                      <a:pt x="1218287" y="25080"/>
                      <a:pt x="1217830" y="28105"/>
                      <a:pt x="1216719" y="30934"/>
                    </a:cubicBezTo>
                    <a:lnTo>
                      <a:pt x="1036133" y="730408"/>
                    </a:lnTo>
                    <a:cubicBezTo>
                      <a:pt x="1031102" y="748205"/>
                      <a:pt x="1015161" y="760717"/>
                      <a:pt x="996671" y="761377"/>
                    </a:cubicBezTo>
                    <a:close/>
                  </a:path>
                </a:pathLst>
              </a:custGeom>
              <a:noFill/>
              <a:ln w="1633" cap="rnd">
                <a:solidFill>
                  <a:srgbClr val="263238"/>
                </a:solidFill>
                <a:prstDash val="solid"/>
                <a:round/>
              </a:ln>
            </p:spPr>
            <p:txBody>
              <a:bodyPr rtlCol="0" anchor="ctr"/>
              <a:lstStyle/>
              <a:p>
                <a:endParaRPr lang="zh-CN" altLang="en-US"/>
              </a:p>
            </p:txBody>
          </p:sp>
          <p:sp>
            <p:nvSpPr>
              <p:cNvPr id="112" name="iṩḻïḋe">
                <a:extLst>
                  <a:ext uri="{FF2B5EF4-FFF2-40B4-BE49-F238E27FC236}">
                    <a16:creationId xmlns:a16="http://schemas.microsoft.com/office/drawing/2014/main" id="{84890165-97E7-0C08-5CB6-E26B9CFF0BA8}"/>
                  </a:ext>
                </a:extLst>
              </p:cNvPr>
              <p:cNvSpPr/>
              <p:nvPr/>
            </p:nvSpPr>
            <p:spPr>
              <a:xfrm>
                <a:off x="6767641" y="4085353"/>
                <a:ext cx="17901" cy="6533"/>
              </a:xfrm>
              <a:custGeom>
                <a:avLst/>
                <a:gdLst>
                  <a:gd name="connsiteX0" fmla="*/ 0 w 17901"/>
                  <a:gd name="connsiteY0" fmla="*/ 0 h 6533"/>
                  <a:gd name="connsiteX1" fmla="*/ 17902 w 17901"/>
                  <a:gd name="connsiteY1" fmla="*/ 0 h 6533"/>
                </a:gdLst>
                <a:ahLst/>
                <a:cxnLst>
                  <a:cxn ang="0">
                    <a:pos x="connsiteX0" y="connsiteY0"/>
                  </a:cxn>
                  <a:cxn ang="0">
                    <a:pos x="connsiteX1" y="connsiteY1"/>
                  </a:cxn>
                </a:cxnLst>
                <a:rect l="l" t="t" r="r" b="b"/>
                <a:pathLst>
                  <a:path w="17901" h="6533">
                    <a:moveTo>
                      <a:pt x="0" y="0"/>
                    </a:moveTo>
                    <a:lnTo>
                      <a:pt x="17902" y="0"/>
                    </a:lnTo>
                  </a:path>
                </a:pathLst>
              </a:custGeom>
              <a:ln w="1633" cap="rnd">
                <a:solidFill>
                  <a:srgbClr val="263238"/>
                </a:solidFill>
                <a:prstDash val="solid"/>
                <a:round/>
              </a:ln>
            </p:spPr>
            <p:txBody>
              <a:bodyPr rtlCol="0" anchor="ctr"/>
              <a:lstStyle/>
              <a:p>
                <a:endParaRPr lang="zh-CN" altLang="en-US"/>
              </a:p>
            </p:txBody>
          </p:sp>
          <p:sp>
            <p:nvSpPr>
              <p:cNvPr id="113" name="işḷíḋê">
                <a:extLst>
                  <a:ext uri="{FF2B5EF4-FFF2-40B4-BE49-F238E27FC236}">
                    <a16:creationId xmlns:a16="http://schemas.microsoft.com/office/drawing/2014/main" id="{A4981BB6-26B1-B6CE-C181-54DD22134186}"/>
                  </a:ext>
                </a:extLst>
              </p:cNvPr>
              <p:cNvSpPr/>
              <p:nvPr/>
            </p:nvSpPr>
            <p:spPr>
              <a:xfrm>
                <a:off x="6624297" y="4085353"/>
                <a:ext cx="89573" cy="6533"/>
              </a:xfrm>
              <a:custGeom>
                <a:avLst/>
                <a:gdLst>
                  <a:gd name="connsiteX0" fmla="*/ 0 w 89573"/>
                  <a:gd name="connsiteY0" fmla="*/ 0 h 6533"/>
                  <a:gd name="connsiteX1" fmla="*/ 89574 w 89573"/>
                  <a:gd name="connsiteY1" fmla="*/ 0 h 6533"/>
                </a:gdLst>
                <a:ahLst/>
                <a:cxnLst>
                  <a:cxn ang="0">
                    <a:pos x="connsiteX0" y="connsiteY0"/>
                  </a:cxn>
                  <a:cxn ang="0">
                    <a:pos x="connsiteX1" y="connsiteY1"/>
                  </a:cxn>
                </a:cxnLst>
                <a:rect l="l" t="t" r="r" b="b"/>
                <a:pathLst>
                  <a:path w="89573" h="6533">
                    <a:moveTo>
                      <a:pt x="0" y="0"/>
                    </a:moveTo>
                    <a:lnTo>
                      <a:pt x="89574" y="0"/>
                    </a:lnTo>
                  </a:path>
                </a:pathLst>
              </a:custGeom>
              <a:ln w="1633" cap="rnd">
                <a:solidFill>
                  <a:srgbClr val="263238"/>
                </a:solidFill>
                <a:prstDash val="solid"/>
                <a:round/>
              </a:ln>
            </p:spPr>
            <p:txBody>
              <a:bodyPr rtlCol="0" anchor="ctr"/>
              <a:lstStyle/>
              <a:p>
                <a:endParaRPr lang="zh-CN" altLang="en-US"/>
              </a:p>
            </p:txBody>
          </p:sp>
          <p:sp>
            <p:nvSpPr>
              <p:cNvPr id="114" name="iṡľiḍe">
                <a:extLst>
                  <a:ext uri="{FF2B5EF4-FFF2-40B4-BE49-F238E27FC236}">
                    <a16:creationId xmlns:a16="http://schemas.microsoft.com/office/drawing/2014/main" id="{648AD422-E3DF-DEF9-264F-76D1A2490CF4}"/>
                  </a:ext>
                </a:extLst>
              </p:cNvPr>
              <p:cNvSpPr/>
              <p:nvPr/>
            </p:nvSpPr>
            <p:spPr>
              <a:xfrm>
                <a:off x="5647673" y="4085353"/>
                <a:ext cx="949836" cy="654065"/>
              </a:xfrm>
              <a:custGeom>
                <a:avLst/>
                <a:gdLst>
                  <a:gd name="connsiteX0" fmla="*/ -567 w 949836"/>
                  <a:gd name="connsiteY0" fmla="*/ 653879 h 654065"/>
                  <a:gd name="connsiteX1" fmla="*/ 159111 w 949836"/>
                  <a:gd name="connsiteY1" fmla="*/ 31239 h 654065"/>
                  <a:gd name="connsiteX2" fmla="*/ 197920 w 949836"/>
                  <a:gd name="connsiteY2" fmla="*/ -187 h 654065"/>
                  <a:gd name="connsiteX3" fmla="*/ 949270 w 949836"/>
                  <a:gd name="connsiteY3" fmla="*/ -187 h 654065"/>
                </a:gdLst>
                <a:ahLst/>
                <a:cxnLst>
                  <a:cxn ang="0">
                    <a:pos x="connsiteX0" y="connsiteY0"/>
                  </a:cxn>
                  <a:cxn ang="0">
                    <a:pos x="connsiteX1" y="connsiteY1"/>
                  </a:cxn>
                  <a:cxn ang="0">
                    <a:pos x="connsiteX2" y="connsiteY2"/>
                  </a:cxn>
                  <a:cxn ang="0">
                    <a:pos x="connsiteX3" y="connsiteY3"/>
                  </a:cxn>
                </a:cxnLst>
                <a:rect l="l" t="t" r="r" b="b"/>
                <a:pathLst>
                  <a:path w="949836" h="654065">
                    <a:moveTo>
                      <a:pt x="-567" y="653879"/>
                    </a:moveTo>
                    <a:lnTo>
                      <a:pt x="159111" y="31239"/>
                    </a:lnTo>
                    <a:cubicBezTo>
                      <a:pt x="163959" y="13520"/>
                      <a:pt x="179581" y="871"/>
                      <a:pt x="197920" y="-187"/>
                    </a:cubicBezTo>
                    <a:lnTo>
                      <a:pt x="949270" y="-187"/>
                    </a:lnTo>
                  </a:path>
                </a:pathLst>
              </a:custGeom>
              <a:noFill/>
              <a:ln w="1633" cap="rnd">
                <a:solidFill>
                  <a:srgbClr val="263238"/>
                </a:solidFill>
                <a:prstDash val="solid"/>
                <a:round/>
              </a:ln>
            </p:spPr>
            <p:txBody>
              <a:bodyPr rtlCol="0" anchor="ctr"/>
              <a:lstStyle/>
              <a:p>
                <a:endParaRPr lang="zh-CN" altLang="en-US"/>
              </a:p>
            </p:txBody>
          </p:sp>
          <p:sp>
            <p:nvSpPr>
              <p:cNvPr id="115" name="íṧḷíďê">
                <a:extLst>
                  <a:ext uri="{FF2B5EF4-FFF2-40B4-BE49-F238E27FC236}">
                    <a16:creationId xmlns:a16="http://schemas.microsoft.com/office/drawing/2014/main" id="{58D9E012-AD8A-7003-2DFC-AE38BF1DC53F}"/>
                  </a:ext>
                </a:extLst>
              </p:cNvPr>
              <p:cNvSpPr/>
              <p:nvPr/>
            </p:nvSpPr>
            <p:spPr>
              <a:xfrm>
                <a:off x="5629706" y="4775288"/>
                <a:ext cx="8950" cy="17967"/>
              </a:xfrm>
              <a:custGeom>
                <a:avLst/>
                <a:gdLst>
                  <a:gd name="connsiteX0" fmla="*/ 0 w 8950"/>
                  <a:gd name="connsiteY0" fmla="*/ 17967 h 17967"/>
                  <a:gd name="connsiteX1" fmla="*/ 8951 w 8950"/>
                  <a:gd name="connsiteY1" fmla="*/ 0 h 17967"/>
                </a:gdLst>
                <a:ahLst/>
                <a:cxnLst>
                  <a:cxn ang="0">
                    <a:pos x="connsiteX0" y="connsiteY0"/>
                  </a:cxn>
                  <a:cxn ang="0">
                    <a:pos x="connsiteX1" y="connsiteY1"/>
                  </a:cxn>
                </a:cxnLst>
                <a:rect l="l" t="t" r="r" b="b"/>
                <a:pathLst>
                  <a:path w="8950" h="17967">
                    <a:moveTo>
                      <a:pt x="0" y="17967"/>
                    </a:moveTo>
                    <a:lnTo>
                      <a:pt x="8951" y="0"/>
                    </a:lnTo>
                  </a:path>
                </a:pathLst>
              </a:custGeom>
              <a:ln w="1633" cap="rnd">
                <a:solidFill>
                  <a:srgbClr val="263238"/>
                </a:solidFill>
                <a:prstDash val="solid"/>
                <a:round/>
              </a:ln>
            </p:spPr>
            <p:txBody>
              <a:bodyPr rtlCol="0" anchor="ctr"/>
              <a:lstStyle/>
              <a:p>
                <a:endParaRPr lang="zh-CN" altLang="en-US"/>
              </a:p>
            </p:txBody>
          </p:sp>
          <p:sp>
            <p:nvSpPr>
              <p:cNvPr id="116" name="íşḻíḓê">
                <a:extLst>
                  <a:ext uri="{FF2B5EF4-FFF2-40B4-BE49-F238E27FC236}">
                    <a16:creationId xmlns:a16="http://schemas.microsoft.com/office/drawing/2014/main" id="{0DC230BB-99F6-7716-75EB-3DAC8532D178}"/>
                  </a:ext>
                </a:extLst>
              </p:cNvPr>
              <p:cNvSpPr/>
              <p:nvPr/>
            </p:nvSpPr>
            <p:spPr>
              <a:xfrm>
                <a:off x="6167368" y="4380906"/>
                <a:ext cx="143322" cy="161407"/>
              </a:xfrm>
              <a:custGeom>
                <a:avLst/>
                <a:gdLst>
                  <a:gd name="connsiteX0" fmla="*/ 142755 w 143322"/>
                  <a:gd name="connsiteY0" fmla="*/ 83201 h 161407"/>
                  <a:gd name="connsiteX1" fmla="*/ 139162 w 143322"/>
                  <a:gd name="connsiteY1" fmla="*/ 100319 h 161407"/>
                  <a:gd name="connsiteX2" fmla="*/ 48085 w 143322"/>
                  <a:gd name="connsiteY2" fmla="*/ 158728 h 161407"/>
                  <a:gd name="connsiteX3" fmla="*/ 3266 w 143322"/>
                  <a:gd name="connsiteY3" fmla="*/ 60726 h 161407"/>
                  <a:gd name="connsiteX4" fmla="*/ 94735 w 143322"/>
                  <a:gd name="connsiteY4" fmla="*/ 2317 h 161407"/>
                  <a:gd name="connsiteX5" fmla="*/ 107344 w 143322"/>
                  <a:gd name="connsiteY5" fmla="*/ 7609 h 161407"/>
                  <a:gd name="connsiteX6" fmla="*/ 142755 w 143322"/>
                  <a:gd name="connsiteY6" fmla="*/ 83201 h 161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3322" h="161407">
                    <a:moveTo>
                      <a:pt x="142755" y="83201"/>
                    </a:moveTo>
                    <a:cubicBezTo>
                      <a:pt x="142109" y="89009"/>
                      <a:pt x="140907" y="94739"/>
                      <a:pt x="139162" y="100319"/>
                    </a:cubicBezTo>
                    <a:cubicBezTo>
                      <a:pt x="126422" y="143374"/>
                      <a:pt x="85588" y="169704"/>
                      <a:pt x="48085" y="158728"/>
                    </a:cubicBezTo>
                    <a:cubicBezTo>
                      <a:pt x="10583" y="147752"/>
                      <a:pt x="-9474" y="103978"/>
                      <a:pt x="3266" y="60726"/>
                    </a:cubicBezTo>
                    <a:cubicBezTo>
                      <a:pt x="16006" y="17474"/>
                      <a:pt x="57102" y="-8659"/>
                      <a:pt x="94735" y="2317"/>
                    </a:cubicBezTo>
                    <a:cubicBezTo>
                      <a:pt x="99119" y="3617"/>
                      <a:pt x="103346" y="5394"/>
                      <a:pt x="107344" y="7609"/>
                    </a:cubicBezTo>
                    <a:cubicBezTo>
                      <a:pt x="103117" y="37597"/>
                      <a:pt x="117007" y="67253"/>
                      <a:pt x="142755" y="83201"/>
                    </a:cubicBezTo>
                    <a:close/>
                  </a:path>
                </a:pathLst>
              </a:custGeom>
              <a:solidFill>
                <a:srgbClr val="FFFFFF"/>
              </a:solidFill>
              <a:ln w="6531" cap="flat">
                <a:noFill/>
                <a:prstDash val="solid"/>
                <a:miter/>
              </a:ln>
            </p:spPr>
            <p:txBody>
              <a:bodyPr rtlCol="0" anchor="ctr"/>
              <a:lstStyle/>
              <a:p>
                <a:endParaRPr lang="zh-CN" altLang="en-US"/>
              </a:p>
            </p:txBody>
          </p:sp>
          <p:sp>
            <p:nvSpPr>
              <p:cNvPr id="117" name="ïš1íḍê">
                <a:extLst>
                  <a:ext uri="{FF2B5EF4-FFF2-40B4-BE49-F238E27FC236}">
                    <a16:creationId xmlns:a16="http://schemas.microsoft.com/office/drawing/2014/main" id="{A200CB80-5816-98FB-E78B-C4BB0B3EEBCC}"/>
                  </a:ext>
                </a:extLst>
              </p:cNvPr>
              <p:cNvSpPr/>
              <p:nvPr/>
            </p:nvSpPr>
            <p:spPr>
              <a:xfrm>
                <a:off x="6167368" y="4380906"/>
                <a:ext cx="143322" cy="161407"/>
              </a:xfrm>
              <a:custGeom>
                <a:avLst/>
                <a:gdLst>
                  <a:gd name="connsiteX0" fmla="*/ 142755 w 143322"/>
                  <a:gd name="connsiteY0" fmla="*/ 83201 h 161407"/>
                  <a:gd name="connsiteX1" fmla="*/ 139162 w 143322"/>
                  <a:gd name="connsiteY1" fmla="*/ 100319 h 161407"/>
                  <a:gd name="connsiteX2" fmla="*/ 48085 w 143322"/>
                  <a:gd name="connsiteY2" fmla="*/ 158728 h 161407"/>
                  <a:gd name="connsiteX3" fmla="*/ 3266 w 143322"/>
                  <a:gd name="connsiteY3" fmla="*/ 60726 h 161407"/>
                  <a:gd name="connsiteX4" fmla="*/ 94735 w 143322"/>
                  <a:gd name="connsiteY4" fmla="*/ 2317 h 161407"/>
                  <a:gd name="connsiteX5" fmla="*/ 107344 w 143322"/>
                  <a:gd name="connsiteY5" fmla="*/ 7609 h 161407"/>
                  <a:gd name="connsiteX6" fmla="*/ 142755 w 143322"/>
                  <a:gd name="connsiteY6" fmla="*/ 83201 h 161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3322" h="161407">
                    <a:moveTo>
                      <a:pt x="142755" y="83201"/>
                    </a:moveTo>
                    <a:cubicBezTo>
                      <a:pt x="142109" y="89009"/>
                      <a:pt x="140907" y="94739"/>
                      <a:pt x="139162" y="100319"/>
                    </a:cubicBezTo>
                    <a:cubicBezTo>
                      <a:pt x="126422" y="143374"/>
                      <a:pt x="85588" y="169704"/>
                      <a:pt x="48085" y="158728"/>
                    </a:cubicBezTo>
                    <a:cubicBezTo>
                      <a:pt x="10583" y="147752"/>
                      <a:pt x="-9474" y="103978"/>
                      <a:pt x="3266" y="60726"/>
                    </a:cubicBezTo>
                    <a:cubicBezTo>
                      <a:pt x="16006" y="17474"/>
                      <a:pt x="57102" y="-8659"/>
                      <a:pt x="94735" y="2317"/>
                    </a:cubicBezTo>
                    <a:cubicBezTo>
                      <a:pt x="99119" y="3617"/>
                      <a:pt x="103346" y="5394"/>
                      <a:pt x="107344" y="7609"/>
                    </a:cubicBezTo>
                    <a:cubicBezTo>
                      <a:pt x="103117" y="37597"/>
                      <a:pt x="117007" y="67253"/>
                      <a:pt x="142755" y="83201"/>
                    </a:cubicBezTo>
                    <a:close/>
                  </a:path>
                </a:pathLst>
              </a:custGeom>
              <a:noFill/>
              <a:ln w="1633" cap="rnd">
                <a:solidFill>
                  <a:srgbClr val="263238"/>
                </a:solidFill>
                <a:prstDash val="solid"/>
                <a:round/>
              </a:ln>
            </p:spPr>
            <p:txBody>
              <a:bodyPr rtlCol="0" anchor="ctr"/>
              <a:lstStyle/>
              <a:p>
                <a:endParaRPr lang="zh-CN" altLang="en-US"/>
              </a:p>
            </p:txBody>
          </p:sp>
          <p:sp>
            <p:nvSpPr>
              <p:cNvPr id="119" name="iṥļîḑê">
                <a:extLst>
                  <a:ext uri="{FF2B5EF4-FFF2-40B4-BE49-F238E27FC236}">
                    <a16:creationId xmlns:a16="http://schemas.microsoft.com/office/drawing/2014/main" id="{9C744821-76E4-D9BE-E635-21B4918AD369}"/>
                  </a:ext>
                </a:extLst>
              </p:cNvPr>
              <p:cNvSpPr/>
              <p:nvPr/>
            </p:nvSpPr>
            <p:spPr>
              <a:xfrm>
                <a:off x="5342821" y="3897189"/>
                <a:ext cx="385474" cy="519672"/>
              </a:xfrm>
              <a:custGeom>
                <a:avLst/>
                <a:gdLst>
                  <a:gd name="connsiteX0" fmla="*/ 384908 w 385474"/>
                  <a:gd name="connsiteY0" fmla="*/ -187 h 519672"/>
                  <a:gd name="connsiteX1" fmla="*/ -567 w 385474"/>
                  <a:gd name="connsiteY1" fmla="*/ 519486 h 519672"/>
                </a:gdLst>
                <a:ahLst/>
                <a:cxnLst>
                  <a:cxn ang="0">
                    <a:pos x="connsiteX0" y="connsiteY0"/>
                  </a:cxn>
                  <a:cxn ang="0">
                    <a:pos x="connsiteX1" y="connsiteY1"/>
                  </a:cxn>
                </a:cxnLst>
                <a:rect l="l" t="t" r="r" b="b"/>
                <a:pathLst>
                  <a:path w="385474" h="519672">
                    <a:moveTo>
                      <a:pt x="384908" y="-187"/>
                    </a:moveTo>
                    <a:cubicBezTo>
                      <a:pt x="384908" y="-187"/>
                      <a:pt x="263451" y="401295"/>
                      <a:pt x="-567" y="519486"/>
                    </a:cubicBezTo>
                  </a:path>
                </a:pathLst>
              </a:custGeom>
              <a:noFill/>
              <a:ln w="1633" cap="rnd">
                <a:solidFill>
                  <a:srgbClr val="263238"/>
                </a:solidFill>
                <a:prstDash val="solid"/>
                <a:round/>
              </a:ln>
            </p:spPr>
            <p:txBody>
              <a:bodyPr rtlCol="0" anchor="ctr"/>
              <a:lstStyle/>
              <a:p>
                <a:endParaRPr lang="zh-CN" altLang="en-US"/>
              </a:p>
            </p:txBody>
          </p:sp>
          <p:sp>
            <p:nvSpPr>
              <p:cNvPr id="120" name="ïśľíďè">
                <a:extLst>
                  <a:ext uri="{FF2B5EF4-FFF2-40B4-BE49-F238E27FC236}">
                    <a16:creationId xmlns:a16="http://schemas.microsoft.com/office/drawing/2014/main" id="{BCF4E77A-AF91-2336-A652-D3115A8DF3CC}"/>
                  </a:ext>
                </a:extLst>
              </p:cNvPr>
              <p:cNvSpPr/>
              <p:nvPr/>
            </p:nvSpPr>
            <p:spPr>
              <a:xfrm>
                <a:off x="5100037" y="3124624"/>
                <a:ext cx="180350" cy="119810"/>
              </a:xfrm>
              <a:custGeom>
                <a:avLst/>
                <a:gdLst>
                  <a:gd name="connsiteX0" fmla="*/ -567 w 180350"/>
                  <a:gd name="connsiteY0" fmla="*/ 45986 h 119810"/>
                  <a:gd name="connsiteX1" fmla="*/ 155126 w 180350"/>
                  <a:gd name="connsiteY1" fmla="*/ 93223 h 119810"/>
                  <a:gd name="connsiteX2" fmla="*/ -567 w 180350"/>
                  <a:gd name="connsiteY2" fmla="*/ 45986 h 119810"/>
                </a:gdLst>
                <a:ahLst/>
                <a:cxnLst>
                  <a:cxn ang="0">
                    <a:pos x="connsiteX0" y="connsiteY0"/>
                  </a:cxn>
                  <a:cxn ang="0">
                    <a:pos x="connsiteX1" y="connsiteY1"/>
                  </a:cxn>
                  <a:cxn ang="0">
                    <a:pos x="connsiteX2" y="connsiteY2"/>
                  </a:cxn>
                </a:cxnLst>
                <a:rect l="l" t="t" r="r" b="b"/>
                <a:pathLst>
                  <a:path w="180350" h="119810">
                    <a:moveTo>
                      <a:pt x="-567" y="45986"/>
                    </a:moveTo>
                    <a:cubicBezTo>
                      <a:pt x="-567" y="45986"/>
                      <a:pt x="65813" y="173192"/>
                      <a:pt x="155126" y="93223"/>
                    </a:cubicBezTo>
                    <a:cubicBezTo>
                      <a:pt x="244439" y="13253"/>
                      <a:pt x="67512" y="-44960"/>
                      <a:pt x="-567" y="45986"/>
                    </a:cubicBezTo>
                    <a:close/>
                  </a:path>
                </a:pathLst>
              </a:custGeom>
              <a:solidFill>
                <a:srgbClr val="263238"/>
              </a:solidFill>
              <a:ln w="6531" cap="flat">
                <a:noFill/>
                <a:prstDash val="solid"/>
                <a:miter/>
              </a:ln>
            </p:spPr>
            <p:txBody>
              <a:bodyPr rtlCol="0" anchor="ctr"/>
              <a:lstStyle/>
              <a:p>
                <a:endParaRPr lang="zh-CN" altLang="en-US"/>
              </a:p>
            </p:txBody>
          </p:sp>
          <p:sp>
            <p:nvSpPr>
              <p:cNvPr id="121" name="ïŝļïḑe">
                <a:extLst>
                  <a:ext uri="{FF2B5EF4-FFF2-40B4-BE49-F238E27FC236}">
                    <a16:creationId xmlns:a16="http://schemas.microsoft.com/office/drawing/2014/main" id="{0E253D24-611D-0D02-FFAA-7FF4A3F5068C}"/>
                  </a:ext>
                </a:extLst>
              </p:cNvPr>
              <p:cNvSpPr/>
              <p:nvPr/>
            </p:nvSpPr>
            <p:spPr>
              <a:xfrm>
                <a:off x="5400837" y="2654326"/>
                <a:ext cx="152373" cy="334056"/>
              </a:xfrm>
              <a:custGeom>
                <a:avLst/>
                <a:gdLst>
                  <a:gd name="connsiteX0" fmla="*/ 67448 w 152373"/>
                  <a:gd name="connsiteY0" fmla="*/ -187 h 334056"/>
                  <a:gd name="connsiteX1" fmla="*/ 94954 w 152373"/>
                  <a:gd name="connsiteY1" fmla="*/ 333870 h 334056"/>
                  <a:gd name="connsiteX2" fmla="*/ 9562 w 152373"/>
                  <a:gd name="connsiteY2" fmla="*/ 93438 h 334056"/>
                  <a:gd name="connsiteX3" fmla="*/ 52682 w 152373"/>
                  <a:gd name="connsiteY3" fmla="*/ 41170 h 334056"/>
                </a:gdLst>
                <a:ahLst/>
                <a:cxnLst>
                  <a:cxn ang="0">
                    <a:pos x="connsiteX0" y="connsiteY0"/>
                  </a:cxn>
                  <a:cxn ang="0">
                    <a:pos x="connsiteX1" y="connsiteY1"/>
                  </a:cxn>
                  <a:cxn ang="0">
                    <a:pos x="connsiteX2" y="connsiteY2"/>
                  </a:cxn>
                  <a:cxn ang="0">
                    <a:pos x="connsiteX3" y="connsiteY3"/>
                  </a:cxn>
                </a:cxnLst>
                <a:rect l="l" t="t" r="r" b="b"/>
                <a:pathLst>
                  <a:path w="152373" h="334056">
                    <a:moveTo>
                      <a:pt x="67448" y="-187"/>
                    </a:moveTo>
                    <a:cubicBezTo>
                      <a:pt x="67448" y="-187"/>
                      <a:pt x="237318" y="204376"/>
                      <a:pt x="94954" y="333870"/>
                    </a:cubicBezTo>
                    <a:cubicBezTo>
                      <a:pt x="94954" y="333870"/>
                      <a:pt x="-37545" y="126628"/>
                      <a:pt x="9562" y="93438"/>
                    </a:cubicBezTo>
                    <a:cubicBezTo>
                      <a:pt x="58824" y="53910"/>
                      <a:pt x="52682" y="41170"/>
                      <a:pt x="52682" y="41170"/>
                    </a:cubicBezTo>
                    <a:close/>
                  </a:path>
                </a:pathLst>
              </a:custGeom>
              <a:solidFill>
                <a:srgbClr val="263238"/>
              </a:solidFill>
              <a:ln w="6531" cap="flat">
                <a:noFill/>
                <a:prstDash val="solid"/>
                <a:miter/>
              </a:ln>
            </p:spPr>
            <p:txBody>
              <a:bodyPr rtlCol="0" anchor="ctr"/>
              <a:lstStyle/>
              <a:p>
                <a:endParaRPr lang="zh-CN" altLang="en-US"/>
              </a:p>
            </p:txBody>
          </p:sp>
          <p:sp>
            <p:nvSpPr>
              <p:cNvPr id="123" name="ïṧḻîḋê">
                <a:extLst>
                  <a:ext uri="{FF2B5EF4-FFF2-40B4-BE49-F238E27FC236}">
                    <a16:creationId xmlns:a16="http://schemas.microsoft.com/office/drawing/2014/main" id="{27B4676F-4585-21B3-29EB-98FD24A359B8}"/>
                  </a:ext>
                </a:extLst>
              </p:cNvPr>
              <p:cNvSpPr/>
              <p:nvPr/>
            </p:nvSpPr>
            <p:spPr>
              <a:xfrm rot="19799999">
                <a:off x="5405111" y="3108856"/>
                <a:ext cx="87287" cy="45734"/>
              </a:xfrm>
              <a:custGeom>
                <a:avLst/>
                <a:gdLst>
                  <a:gd name="connsiteX0" fmla="*/ 86720 w 87287"/>
                  <a:gd name="connsiteY0" fmla="*/ 22680 h 45734"/>
                  <a:gd name="connsiteX1" fmla="*/ 43077 w 87287"/>
                  <a:gd name="connsiteY1" fmla="*/ 45547 h 45734"/>
                  <a:gd name="connsiteX2" fmla="*/ -567 w 87287"/>
                  <a:gd name="connsiteY2" fmla="*/ 22680 h 45734"/>
                  <a:gd name="connsiteX3" fmla="*/ 43077 w 87287"/>
                  <a:gd name="connsiteY3" fmla="*/ -187 h 45734"/>
                  <a:gd name="connsiteX4" fmla="*/ 86720 w 87287"/>
                  <a:gd name="connsiteY4" fmla="*/ 22680 h 45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287" h="45734">
                    <a:moveTo>
                      <a:pt x="86720" y="22680"/>
                    </a:moveTo>
                    <a:cubicBezTo>
                      <a:pt x="86720" y="35309"/>
                      <a:pt x="67181" y="45547"/>
                      <a:pt x="43077" y="45547"/>
                    </a:cubicBezTo>
                    <a:cubicBezTo>
                      <a:pt x="18973" y="45547"/>
                      <a:pt x="-567" y="35309"/>
                      <a:pt x="-567" y="22680"/>
                    </a:cubicBezTo>
                    <a:cubicBezTo>
                      <a:pt x="-567" y="10051"/>
                      <a:pt x="18973" y="-187"/>
                      <a:pt x="43077" y="-187"/>
                    </a:cubicBezTo>
                    <a:cubicBezTo>
                      <a:pt x="67181" y="-187"/>
                      <a:pt x="86720" y="10051"/>
                      <a:pt x="86720" y="22680"/>
                    </a:cubicBezTo>
                    <a:close/>
                  </a:path>
                </a:pathLst>
              </a:custGeom>
              <a:solidFill>
                <a:srgbClr val="E88282"/>
              </a:solidFill>
              <a:ln w="6531" cap="flat">
                <a:noFill/>
                <a:prstDash val="solid"/>
                <a:miter/>
              </a:ln>
            </p:spPr>
            <p:txBody>
              <a:bodyPr rtlCol="0" anchor="ctr"/>
              <a:lstStyle/>
              <a:p>
                <a:endParaRPr lang="zh-CN" altLang="en-US"/>
              </a:p>
            </p:txBody>
          </p:sp>
          <p:sp>
            <p:nvSpPr>
              <p:cNvPr id="124" name="iṥľíḍè">
                <a:extLst>
                  <a:ext uri="{FF2B5EF4-FFF2-40B4-BE49-F238E27FC236}">
                    <a16:creationId xmlns:a16="http://schemas.microsoft.com/office/drawing/2014/main" id="{3C970B51-87E2-94C4-0FB5-FA297490A6A4}"/>
                  </a:ext>
                </a:extLst>
              </p:cNvPr>
              <p:cNvSpPr/>
              <p:nvPr/>
            </p:nvSpPr>
            <p:spPr>
              <a:xfrm rot="20116199">
                <a:off x="5281641" y="2933329"/>
                <a:ext cx="36848" cy="55273"/>
              </a:xfrm>
              <a:custGeom>
                <a:avLst/>
                <a:gdLst>
                  <a:gd name="connsiteX0" fmla="*/ 36282 w 36848"/>
                  <a:gd name="connsiteY0" fmla="*/ 27450 h 55273"/>
                  <a:gd name="connsiteX1" fmla="*/ 17858 w 36848"/>
                  <a:gd name="connsiteY1" fmla="*/ 55086 h 55273"/>
                  <a:gd name="connsiteX2" fmla="*/ -567 w 36848"/>
                  <a:gd name="connsiteY2" fmla="*/ 27450 h 55273"/>
                  <a:gd name="connsiteX3" fmla="*/ 17858 w 36848"/>
                  <a:gd name="connsiteY3" fmla="*/ -187 h 55273"/>
                  <a:gd name="connsiteX4" fmla="*/ 36282 w 36848"/>
                  <a:gd name="connsiteY4" fmla="*/ 27450 h 552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848" h="55273">
                    <a:moveTo>
                      <a:pt x="36282" y="27450"/>
                    </a:moveTo>
                    <a:cubicBezTo>
                      <a:pt x="36282" y="42713"/>
                      <a:pt x="28033" y="55086"/>
                      <a:pt x="17858" y="55086"/>
                    </a:cubicBezTo>
                    <a:cubicBezTo>
                      <a:pt x="7682" y="55086"/>
                      <a:pt x="-567" y="42713"/>
                      <a:pt x="-567" y="27450"/>
                    </a:cubicBezTo>
                    <a:cubicBezTo>
                      <a:pt x="-567" y="12186"/>
                      <a:pt x="7682" y="-187"/>
                      <a:pt x="17858" y="-187"/>
                    </a:cubicBezTo>
                    <a:cubicBezTo>
                      <a:pt x="28033" y="-187"/>
                      <a:pt x="36282" y="12186"/>
                      <a:pt x="36282" y="27450"/>
                    </a:cubicBezTo>
                    <a:close/>
                  </a:path>
                </a:pathLst>
              </a:custGeom>
              <a:solidFill>
                <a:srgbClr val="263238"/>
              </a:solidFill>
              <a:ln w="6531" cap="flat">
                <a:noFill/>
                <a:prstDash val="solid"/>
                <a:miter/>
              </a:ln>
            </p:spPr>
            <p:txBody>
              <a:bodyPr rtlCol="0" anchor="ctr"/>
              <a:lstStyle/>
              <a:p>
                <a:endParaRPr lang="zh-CN" altLang="en-US"/>
              </a:p>
            </p:txBody>
          </p:sp>
          <p:sp>
            <p:nvSpPr>
              <p:cNvPr id="125" name="išľiḑé">
                <a:extLst>
                  <a:ext uri="{FF2B5EF4-FFF2-40B4-BE49-F238E27FC236}">
                    <a16:creationId xmlns:a16="http://schemas.microsoft.com/office/drawing/2014/main" id="{5857854D-B663-8F86-AA0D-45615330FED1}"/>
                  </a:ext>
                </a:extLst>
              </p:cNvPr>
              <p:cNvSpPr/>
              <p:nvPr/>
            </p:nvSpPr>
            <p:spPr>
              <a:xfrm rot="20116199">
                <a:off x="5465990" y="2864678"/>
                <a:ext cx="36848" cy="55273"/>
              </a:xfrm>
              <a:custGeom>
                <a:avLst/>
                <a:gdLst>
                  <a:gd name="connsiteX0" fmla="*/ 36282 w 36848"/>
                  <a:gd name="connsiteY0" fmla="*/ 27450 h 55273"/>
                  <a:gd name="connsiteX1" fmla="*/ 17858 w 36848"/>
                  <a:gd name="connsiteY1" fmla="*/ 55086 h 55273"/>
                  <a:gd name="connsiteX2" fmla="*/ -567 w 36848"/>
                  <a:gd name="connsiteY2" fmla="*/ 27450 h 55273"/>
                  <a:gd name="connsiteX3" fmla="*/ 17858 w 36848"/>
                  <a:gd name="connsiteY3" fmla="*/ -187 h 55273"/>
                  <a:gd name="connsiteX4" fmla="*/ 36282 w 36848"/>
                  <a:gd name="connsiteY4" fmla="*/ 27450 h 552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848" h="55273">
                    <a:moveTo>
                      <a:pt x="36282" y="27450"/>
                    </a:moveTo>
                    <a:cubicBezTo>
                      <a:pt x="36282" y="42713"/>
                      <a:pt x="28033" y="55086"/>
                      <a:pt x="17858" y="55086"/>
                    </a:cubicBezTo>
                    <a:cubicBezTo>
                      <a:pt x="7682" y="55086"/>
                      <a:pt x="-567" y="42713"/>
                      <a:pt x="-567" y="27450"/>
                    </a:cubicBezTo>
                    <a:cubicBezTo>
                      <a:pt x="-567" y="12186"/>
                      <a:pt x="7682" y="-187"/>
                      <a:pt x="17858" y="-187"/>
                    </a:cubicBezTo>
                    <a:cubicBezTo>
                      <a:pt x="28033" y="-187"/>
                      <a:pt x="36282" y="12186"/>
                      <a:pt x="36282" y="27450"/>
                    </a:cubicBezTo>
                    <a:close/>
                  </a:path>
                </a:pathLst>
              </a:custGeom>
              <a:solidFill>
                <a:srgbClr val="263238"/>
              </a:solidFill>
              <a:ln w="6531" cap="flat">
                <a:noFill/>
                <a:prstDash val="solid"/>
                <a:miter/>
              </a:ln>
            </p:spPr>
            <p:txBody>
              <a:bodyPr rtlCol="0" anchor="ctr"/>
              <a:lstStyle/>
              <a:p>
                <a:endParaRPr lang="zh-CN" altLang="en-US"/>
              </a:p>
            </p:txBody>
          </p:sp>
          <p:sp>
            <p:nvSpPr>
              <p:cNvPr id="127" name="íşḷïḑé">
                <a:extLst>
                  <a:ext uri="{FF2B5EF4-FFF2-40B4-BE49-F238E27FC236}">
                    <a16:creationId xmlns:a16="http://schemas.microsoft.com/office/drawing/2014/main" id="{FCDA9AFB-06F7-7D48-9975-C8795095077D}"/>
                  </a:ext>
                </a:extLst>
              </p:cNvPr>
              <p:cNvSpPr/>
              <p:nvPr/>
            </p:nvSpPr>
            <p:spPr>
              <a:xfrm>
                <a:off x="5019990" y="3017899"/>
                <a:ext cx="193393" cy="169990"/>
              </a:xfrm>
              <a:custGeom>
                <a:avLst/>
                <a:gdLst>
                  <a:gd name="connsiteX0" fmla="*/ 163305 w 193393"/>
                  <a:gd name="connsiteY0" fmla="*/ 35958 h 169990"/>
                  <a:gd name="connsiteX1" fmla="*/ 29891 w 193393"/>
                  <a:gd name="connsiteY1" fmla="*/ 9824 h 169990"/>
                  <a:gd name="connsiteX2" fmla="*/ 47531 w 193393"/>
                  <a:gd name="connsiteY2" fmla="*/ 144936 h 169990"/>
                  <a:gd name="connsiteX3" fmla="*/ 187805 w 193393"/>
                  <a:gd name="connsiteY3" fmla="*/ 120175 h 169990"/>
                  <a:gd name="connsiteX4" fmla="*/ 163305 w 193393"/>
                  <a:gd name="connsiteY4" fmla="*/ 36219 h 169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393" h="169990">
                    <a:moveTo>
                      <a:pt x="163305" y="35958"/>
                    </a:moveTo>
                    <a:cubicBezTo>
                      <a:pt x="163305" y="35958"/>
                      <a:pt x="97970" y="-23170"/>
                      <a:pt x="29891" y="9824"/>
                    </a:cubicBezTo>
                    <a:cubicBezTo>
                      <a:pt x="-25513" y="36415"/>
                      <a:pt x="3365" y="107826"/>
                      <a:pt x="47531" y="144936"/>
                    </a:cubicBezTo>
                    <a:cubicBezTo>
                      <a:pt x="87516" y="173618"/>
                      <a:pt x="174281" y="190671"/>
                      <a:pt x="187805" y="120175"/>
                    </a:cubicBezTo>
                    <a:cubicBezTo>
                      <a:pt x="207406" y="52161"/>
                      <a:pt x="163305" y="36219"/>
                      <a:pt x="163305" y="36219"/>
                    </a:cubicBezTo>
                    <a:close/>
                  </a:path>
                </a:pathLst>
              </a:custGeom>
              <a:solidFill>
                <a:srgbClr val="FCB9AE"/>
              </a:solidFill>
              <a:ln w="6531" cap="flat">
                <a:noFill/>
                <a:prstDash val="solid"/>
                <a:miter/>
              </a:ln>
            </p:spPr>
            <p:txBody>
              <a:bodyPr rtlCol="0" anchor="ctr"/>
              <a:lstStyle/>
              <a:p>
                <a:endParaRPr lang="zh-CN" altLang="en-US"/>
              </a:p>
            </p:txBody>
          </p:sp>
          <p:sp>
            <p:nvSpPr>
              <p:cNvPr id="128" name="íś1iḓê">
                <a:extLst>
                  <a:ext uri="{FF2B5EF4-FFF2-40B4-BE49-F238E27FC236}">
                    <a16:creationId xmlns:a16="http://schemas.microsoft.com/office/drawing/2014/main" id="{3218A72A-BC7D-BFB8-D43C-E8E1D980DDF7}"/>
                  </a:ext>
                </a:extLst>
              </p:cNvPr>
              <p:cNvSpPr/>
              <p:nvPr/>
            </p:nvSpPr>
            <p:spPr>
              <a:xfrm>
                <a:off x="5401557" y="2936376"/>
                <a:ext cx="75621" cy="116094"/>
              </a:xfrm>
              <a:custGeom>
                <a:avLst/>
                <a:gdLst>
                  <a:gd name="connsiteX0" fmla="*/ -567 w 75621"/>
                  <a:gd name="connsiteY0" fmla="*/ 9 h 116094"/>
                  <a:gd name="connsiteX1" fmla="*/ 73327 w 75621"/>
                  <a:gd name="connsiteY1" fmla="*/ 71877 h 116094"/>
                  <a:gd name="connsiteX2" fmla="*/ 34453 w 75621"/>
                  <a:gd name="connsiteY2" fmla="*/ 115847 h 116094"/>
                  <a:gd name="connsiteX3" fmla="*/ 20994 w 75621"/>
                  <a:gd name="connsiteY3" fmla="*/ 105851 h 116094"/>
                  <a:gd name="connsiteX4" fmla="*/ -567 w 75621"/>
                  <a:gd name="connsiteY4" fmla="*/ -187 h 116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21" h="116094">
                    <a:moveTo>
                      <a:pt x="-567" y="9"/>
                    </a:moveTo>
                    <a:cubicBezTo>
                      <a:pt x="12500" y="9286"/>
                      <a:pt x="51701" y="31566"/>
                      <a:pt x="73327" y="71877"/>
                    </a:cubicBezTo>
                    <a:cubicBezTo>
                      <a:pt x="81755" y="87623"/>
                      <a:pt x="57843" y="113430"/>
                      <a:pt x="34453" y="115847"/>
                    </a:cubicBezTo>
                    <a:cubicBezTo>
                      <a:pt x="28063" y="116475"/>
                      <a:pt x="22241" y="112150"/>
                      <a:pt x="20994" y="105851"/>
                    </a:cubicBezTo>
                    <a:lnTo>
                      <a:pt x="-567" y="-187"/>
                    </a:lnTo>
                    <a:close/>
                  </a:path>
                </a:pathLst>
              </a:custGeom>
              <a:solidFill>
                <a:srgbClr val="E88282"/>
              </a:solidFill>
              <a:ln w="6531" cap="flat">
                <a:noFill/>
                <a:prstDash val="solid"/>
                <a:miter/>
              </a:ln>
            </p:spPr>
            <p:txBody>
              <a:bodyPr rtlCol="0" anchor="ctr"/>
              <a:lstStyle/>
              <a:p>
                <a:endParaRPr lang="zh-CN" altLang="en-US"/>
              </a:p>
            </p:txBody>
          </p:sp>
          <p:sp>
            <p:nvSpPr>
              <p:cNvPr id="129" name="iś1ídè">
                <a:extLst>
                  <a:ext uri="{FF2B5EF4-FFF2-40B4-BE49-F238E27FC236}">
                    <a16:creationId xmlns:a16="http://schemas.microsoft.com/office/drawing/2014/main" id="{49FD7907-CA2C-2048-2CF4-52AA480DAA14}"/>
                  </a:ext>
                </a:extLst>
              </p:cNvPr>
              <p:cNvSpPr/>
              <p:nvPr/>
            </p:nvSpPr>
            <p:spPr>
              <a:xfrm>
                <a:off x="4794900" y="2491455"/>
                <a:ext cx="195464" cy="320132"/>
              </a:xfrm>
              <a:custGeom>
                <a:avLst/>
                <a:gdLst>
                  <a:gd name="connsiteX0" fmla="*/ 28139 w 195464"/>
                  <a:gd name="connsiteY0" fmla="*/ 319945 h 320132"/>
                  <a:gd name="connsiteX1" fmla="*/ 12263 w 195464"/>
                  <a:gd name="connsiteY1" fmla="*/ 307596 h 320132"/>
                  <a:gd name="connsiteX2" fmla="*/ 35326 w 195464"/>
                  <a:gd name="connsiteY2" fmla="*/ 85916 h 320132"/>
                  <a:gd name="connsiteX3" fmla="*/ 176449 w 195464"/>
                  <a:gd name="connsiteY3" fmla="*/ -65 h 320132"/>
                  <a:gd name="connsiteX4" fmla="*/ 194775 w 195464"/>
                  <a:gd name="connsiteY4" fmla="*/ 14276 h 320132"/>
                  <a:gd name="connsiteX5" fmla="*/ 180434 w 195464"/>
                  <a:gd name="connsiteY5" fmla="*/ 32603 h 320132"/>
                  <a:gd name="connsiteX6" fmla="*/ 61982 w 195464"/>
                  <a:gd name="connsiteY6" fmla="*/ 104994 h 320132"/>
                  <a:gd name="connsiteX7" fmla="*/ 44015 w 195464"/>
                  <a:gd name="connsiteY7" fmla="*/ 299887 h 320132"/>
                  <a:gd name="connsiteX8" fmla="*/ 32124 w 195464"/>
                  <a:gd name="connsiteY8" fmla="*/ 319487 h 320132"/>
                  <a:gd name="connsiteX9" fmla="*/ 28139 w 195464"/>
                  <a:gd name="connsiteY9" fmla="*/ 319945 h 320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5464" h="320132">
                    <a:moveTo>
                      <a:pt x="28139" y="319945"/>
                    </a:moveTo>
                    <a:cubicBezTo>
                      <a:pt x="20658" y="319912"/>
                      <a:pt x="14131" y="314842"/>
                      <a:pt x="12263" y="307596"/>
                    </a:cubicBezTo>
                    <a:cubicBezTo>
                      <a:pt x="-10604" y="216128"/>
                      <a:pt x="-2895" y="141385"/>
                      <a:pt x="35326" y="85916"/>
                    </a:cubicBezTo>
                    <a:cubicBezTo>
                      <a:pt x="86418" y="11630"/>
                      <a:pt x="172529" y="393"/>
                      <a:pt x="176449" y="-65"/>
                    </a:cubicBezTo>
                    <a:cubicBezTo>
                      <a:pt x="185472" y="-1162"/>
                      <a:pt x="193678" y="5254"/>
                      <a:pt x="194775" y="14276"/>
                    </a:cubicBezTo>
                    <a:cubicBezTo>
                      <a:pt x="195873" y="23299"/>
                      <a:pt x="189457" y="31505"/>
                      <a:pt x="180434" y="32603"/>
                    </a:cubicBezTo>
                    <a:cubicBezTo>
                      <a:pt x="179389" y="32603"/>
                      <a:pt x="104450" y="42926"/>
                      <a:pt x="61982" y="104994"/>
                    </a:cubicBezTo>
                    <a:cubicBezTo>
                      <a:pt x="29315" y="152361"/>
                      <a:pt x="23500" y="217957"/>
                      <a:pt x="44015" y="299887"/>
                    </a:cubicBezTo>
                    <a:cubicBezTo>
                      <a:pt x="46034" y="308564"/>
                      <a:pt x="40755" y="317273"/>
                      <a:pt x="32124" y="319487"/>
                    </a:cubicBezTo>
                    <a:cubicBezTo>
                      <a:pt x="30818" y="319795"/>
                      <a:pt x="29479" y="319951"/>
                      <a:pt x="28139" y="319945"/>
                    </a:cubicBezTo>
                    <a:close/>
                  </a:path>
                </a:pathLst>
              </a:custGeom>
              <a:solidFill>
                <a:srgbClr val="B2BFD8"/>
              </a:solidFill>
              <a:ln w="6531" cap="flat">
                <a:noFill/>
                <a:prstDash val="solid"/>
                <a:miter/>
              </a:ln>
            </p:spPr>
            <p:txBody>
              <a:bodyPr rtlCol="0" anchor="ctr"/>
              <a:lstStyle/>
              <a:p>
                <a:endParaRPr lang="zh-CN" altLang="en-US"/>
              </a:p>
            </p:txBody>
          </p:sp>
        </p:grpSp>
        <p:grpSp>
          <p:nvGrpSpPr>
            <p:cNvPr id="7" name="ïSlîḋê">
              <a:extLst>
                <a:ext uri="{FF2B5EF4-FFF2-40B4-BE49-F238E27FC236}">
                  <a16:creationId xmlns:a16="http://schemas.microsoft.com/office/drawing/2014/main" id="{87A064EC-D7BA-9D53-CD87-EDF159FB70A9}"/>
                </a:ext>
              </a:extLst>
            </p:cNvPr>
            <p:cNvGrpSpPr/>
            <p:nvPr/>
          </p:nvGrpSpPr>
          <p:grpSpPr>
            <a:xfrm>
              <a:off x="6579784" y="1545074"/>
              <a:ext cx="4466271" cy="4567755"/>
              <a:chOff x="6399038" y="1632692"/>
              <a:chExt cx="4466271" cy="4567755"/>
            </a:xfrm>
          </p:grpSpPr>
          <p:grpSp>
            <p:nvGrpSpPr>
              <p:cNvPr id="8" name="î$liḋè">
                <a:extLst>
                  <a:ext uri="{FF2B5EF4-FFF2-40B4-BE49-F238E27FC236}">
                    <a16:creationId xmlns:a16="http://schemas.microsoft.com/office/drawing/2014/main" id="{9F3DBD7E-DD3A-ABCA-8419-21A677CE1B7F}"/>
                  </a:ext>
                </a:extLst>
              </p:cNvPr>
              <p:cNvGrpSpPr/>
              <p:nvPr/>
            </p:nvGrpSpPr>
            <p:grpSpPr>
              <a:xfrm>
                <a:off x="6399038" y="1632692"/>
                <a:ext cx="4466271" cy="1484072"/>
                <a:chOff x="4366580" y="1214943"/>
                <a:chExt cx="4466271" cy="1484072"/>
              </a:xfrm>
            </p:grpSpPr>
            <p:sp>
              <p:nvSpPr>
                <p:cNvPr id="19" name="iṩḻïďe">
                  <a:extLst>
                    <a:ext uri="{FF2B5EF4-FFF2-40B4-BE49-F238E27FC236}">
                      <a16:creationId xmlns:a16="http://schemas.microsoft.com/office/drawing/2014/main" id="{9FD11723-AEED-B6C0-9785-842637E58A12}"/>
                    </a:ext>
                  </a:extLst>
                </p:cNvPr>
                <p:cNvSpPr/>
                <p:nvPr/>
              </p:nvSpPr>
              <p:spPr>
                <a:xfrm>
                  <a:off x="4366580" y="1377489"/>
                  <a:ext cx="4466271" cy="1291376"/>
                </a:xfrm>
                <a:prstGeom prst="roundRect">
                  <a:avLst>
                    <a:gd name="adj" fmla="val 7053"/>
                  </a:avLst>
                </a:prstGeom>
                <a:solidFill>
                  <a:schemeClr val="tx1">
                    <a:lumMod val="25000"/>
                    <a:lumOff val="75000"/>
                    <a:alpha val="20000"/>
                  </a:schemeClr>
                </a:solidFill>
                <a:ln w="6055" cap="flat">
                  <a:noFill/>
                  <a:prstDash val="solid"/>
                  <a:miter/>
                </a:ln>
              </p:spPr>
              <p:txBody>
                <a:bodyPr rtlCol="0" anchor="ctr"/>
                <a:lstStyle/>
                <a:p>
                  <a:endParaRPr lang="zh-CN" altLang="en-US"/>
                </a:p>
              </p:txBody>
            </p:sp>
            <p:grpSp>
              <p:nvGrpSpPr>
                <p:cNvPr id="20" name="iş1íďè">
                  <a:extLst>
                    <a:ext uri="{FF2B5EF4-FFF2-40B4-BE49-F238E27FC236}">
                      <a16:creationId xmlns:a16="http://schemas.microsoft.com/office/drawing/2014/main" id="{A918804A-CEB8-9F9C-C04D-734E75734487}"/>
                    </a:ext>
                  </a:extLst>
                </p:cNvPr>
                <p:cNvGrpSpPr>
                  <a:grpSpLocks/>
                </p:cNvGrpSpPr>
                <p:nvPr/>
              </p:nvGrpSpPr>
              <p:grpSpPr>
                <a:xfrm>
                  <a:off x="4453124" y="1214943"/>
                  <a:ext cx="4293182" cy="1484072"/>
                  <a:chOff x="7062281" y="2852131"/>
                  <a:chExt cx="4293182" cy="1484072"/>
                </a:xfrm>
              </p:grpSpPr>
              <p:sp>
                <p:nvSpPr>
                  <p:cNvPr id="21" name="ísļíḑê">
                    <a:extLst>
                      <a:ext uri="{FF2B5EF4-FFF2-40B4-BE49-F238E27FC236}">
                        <a16:creationId xmlns:a16="http://schemas.microsoft.com/office/drawing/2014/main" id="{5AA9772F-779D-39FA-0C87-76496074DA54}"/>
                      </a:ext>
                    </a:extLst>
                  </p:cNvPr>
                  <p:cNvSpPr/>
                  <p:nvPr/>
                </p:nvSpPr>
                <p:spPr>
                  <a:xfrm>
                    <a:off x="7172678" y="2852131"/>
                    <a:ext cx="1921763" cy="324968"/>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54000" rIns="108000" bIns="54000" rtlCol="0" anchor="ctr" anchorCtr="0">
                    <a:spAutoFit/>
                  </a:bodyPr>
                  <a:lstStyle/>
                  <a:p>
                    <a:r>
                      <a:rPr kumimoji="1" lang="en-US" altLang="zh-CN" sz="1200" b="1" dirty="0">
                        <a:solidFill>
                          <a:schemeClr val="bg1"/>
                        </a:solidFill>
                      </a:rPr>
                      <a:t>Rule-based</a:t>
                    </a:r>
                  </a:p>
                </p:txBody>
              </p:sp>
              <p:sp>
                <p:nvSpPr>
                  <p:cNvPr id="22" name="ís1iďé">
                    <a:extLst>
                      <a:ext uri="{FF2B5EF4-FFF2-40B4-BE49-F238E27FC236}">
                        <a16:creationId xmlns:a16="http://schemas.microsoft.com/office/drawing/2014/main" id="{0DCE6A67-6ABE-5FA6-DFF2-4AFBC4EE4828}"/>
                      </a:ext>
                    </a:extLst>
                  </p:cNvPr>
                  <p:cNvSpPr/>
                  <p:nvPr/>
                </p:nvSpPr>
                <p:spPr>
                  <a:xfrm>
                    <a:off x="7062281" y="3182773"/>
                    <a:ext cx="4293182" cy="11534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p>
                    <a:pPr>
                      <a:lnSpc>
                        <a:spcPct val="130000"/>
                      </a:lnSpc>
                    </a:pPr>
                    <a:r>
                      <a:rPr kumimoji="1" lang="en-US" altLang="zh-CN" sz="1200" dirty="0">
                        <a:solidFill>
                          <a:schemeClr val="tx1"/>
                        </a:solidFill>
                      </a:rPr>
                      <a:t>Rule-based speech synthesis methods synthesize speech using a library of predefined speech rules and speech units. These rules are created based on phonetics knowledge and acoustic models. Limitations in flexibility and naturalness</a:t>
                    </a:r>
                  </a:p>
                </p:txBody>
              </p:sp>
            </p:grpSp>
          </p:grpSp>
          <p:grpSp>
            <p:nvGrpSpPr>
              <p:cNvPr id="9" name="íṧ1íḓé">
                <a:extLst>
                  <a:ext uri="{FF2B5EF4-FFF2-40B4-BE49-F238E27FC236}">
                    <a16:creationId xmlns:a16="http://schemas.microsoft.com/office/drawing/2014/main" id="{9D669449-04A0-1C3D-F215-5067A7317F24}"/>
                  </a:ext>
                </a:extLst>
              </p:cNvPr>
              <p:cNvGrpSpPr/>
              <p:nvPr/>
            </p:nvGrpSpPr>
            <p:grpSpPr>
              <a:xfrm>
                <a:off x="6399038" y="3174534"/>
                <a:ext cx="4466271" cy="1484072"/>
                <a:chOff x="4366580" y="1214943"/>
                <a:chExt cx="4466271" cy="1484072"/>
              </a:xfrm>
            </p:grpSpPr>
            <p:sp>
              <p:nvSpPr>
                <p:cNvPr id="15" name="îṧḻîḋé">
                  <a:extLst>
                    <a:ext uri="{FF2B5EF4-FFF2-40B4-BE49-F238E27FC236}">
                      <a16:creationId xmlns:a16="http://schemas.microsoft.com/office/drawing/2014/main" id="{F207AA84-6DEE-93A4-CC40-3408A7F95480}"/>
                    </a:ext>
                  </a:extLst>
                </p:cNvPr>
                <p:cNvSpPr/>
                <p:nvPr/>
              </p:nvSpPr>
              <p:spPr>
                <a:xfrm>
                  <a:off x="4366580" y="1377489"/>
                  <a:ext cx="4466271" cy="1216747"/>
                </a:xfrm>
                <a:prstGeom prst="roundRect">
                  <a:avLst>
                    <a:gd name="adj" fmla="val 7053"/>
                  </a:avLst>
                </a:prstGeom>
                <a:solidFill>
                  <a:schemeClr val="tx1">
                    <a:lumMod val="25000"/>
                    <a:lumOff val="75000"/>
                    <a:alpha val="20000"/>
                  </a:schemeClr>
                </a:solidFill>
                <a:ln w="6055" cap="flat">
                  <a:noFill/>
                  <a:prstDash val="solid"/>
                  <a:miter/>
                </a:ln>
              </p:spPr>
              <p:txBody>
                <a:bodyPr rtlCol="0" anchor="ctr"/>
                <a:lstStyle/>
                <a:p>
                  <a:endParaRPr lang="zh-CN" altLang="en-US"/>
                </a:p>
              </p:txBody>
            </p:sp>
            <p:grpSp>
              <p:nvGrpSpPr>
                <p:cNvPr id="16" name="í$ḷíďê">
                  <a:extLst>
                    <a:ext uri="{FF2B5EF4-FFF2-40B4-BE49-F238E27FC236}">
                      <a16:creationId xmlns:a16="http://schemas.microsoft.com/office/drawing/2014/main" id="{FD9527C4-632E-CB5B-5567-2E33C3AD3B47}"/>
                    </a:ext>
                  </a:extLst>
                </p:cNvPr>
                <p:cNvGrpSpPr>
                  <a:grpSpLocks/>
                </p:cNvGrpSpPr>
                <p:nvPr/>
              </p:nvGrpSpPr>
              <p:grpSpPr>
                <a:xfrm>
                  <a:off x="4453123" y="1214943"/>
                  <a:ext cx="4379727" cy="1484072"/>
                  <a:chOff x="7062280" y="2852131"/>
                  <a:chExt cx="4379727" cy="1484072"/>
                </a:xfrm>
              </p:grpSpPr>
              <p:sp>
                <p:nvSpPr>
                  <p:cNvPr id="17" name="îṩ1ïde">
                    <a:extLst>
                      <a:ext uri="{FF2B5EF4-FFF2-40B4-BE49-F238E27FC236}">
                        <a16:creationId xmlns:a16="http://schemas.microsoft.com/office/drawing/2014/main" id="{A81DEE23-B2CE-AF78-0801-22D872584859}"/>
                      </a:ext>
                    </a:extLst>
                  </p:cNvPr>
                  <p:cNvSpPr/>
                  <p:nvPr/>
                </p:nvSpPr>
                <p:spPr>
                  <a:xfrm>
                    <a:off x="7172678" y="2852131"/>
                    <a:ext cx="1921763" cy="324968"/>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54000" rIns="108000" bIns="54000" rtlCol="0" anchor="ctr" anchorCtr="0">
                    <a:spAutoFit/>
                  </a:bodyPr>
                  <a:lstStyle/>
                  <a:p>
                    <a:r>
                      <a:rPr kumimoji="1" lang="en-US" altLang="zh-CN" sz="1200" b="1" dirty="0">
                        <a:solidFill>
                          <a:schemeClr val="bg1"/>
                        </a:solidFill>
                      </a:rPr>
                      <a:t>Statistical-based</a:t>
                    </a:r>
                  </a:p>
                </p:txBody>
              </p:sp>
              <p:sp>
                <p:nvSpPr>
                  <p:cNvPr id="18" name="iSḷiḓe">
                    <a:extLst>
                      <a:ext uri="{FF2B5EF4-FFF2-40B4-BE49-F238E27FC236}">
                        <a16:creationId xmlns:a16="http://schemas.microsoft.com/office/drawing/2014/main" id="{C82B6FE5-76D2-6620-EF7E-90391057D0A7}"/>
                      </a:ext>
                    </a:extLst>
                  </p:cNvPr>
                  <p:cNvSpPr/>
                  <p:nvPr/>
                </p:nvSpPr>
                <p:spPr>
                  <a:xfrm>
                    <a:off x="7062280" y="3182773"/>
                    <a:ext cx="4379727" cy="11534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p>
                    <a:pPr>
                      <a:lnSpc>
                        <a:spcPct val="130000"/>
                      </a:lnSpc>
                    </a:pPr>
                    <a:r>
                      <a:rPr kumimoji="1" lang="en-US" altLang="zh-CN" sz="1200" dirty="0">
                        <a:solidFill>
                          <a:schemeClr val="tx1"/>
                        </a:solidFill>
                      </a:rPr>
                      <a:t>Statistically based speech synthesis approaches use large-scale speech data sets to train models and use these models to generate speech,</a:t>
                    </a:r>
                    <a:r>
                      <a:rPr kumimoji="1" lang="zh-CN" altLang="en-US" sz="1200" dirty="0">
                        <a:solidFill>
                          <a:schemeClr val="tx1"/>
                        </a:solidFill>
                      </a:rPr>
                      <a:t> </a:t>
                    </a:r>
                    <a:r>
                      <a:rPr kumimoji="1" lang="en-US" altLang="zh-CN" sz="1200" dirty="0">
                        <a:solidFill>
                          <a:schemeClr val="tx1"/>
                        </a:solidFill>
                      </a:rPr>
                      <a:t>including Hidden Markov Models (HMM) and Gaussian Mixture Models (GMM).</a:t>
                    </a:r>
                  </a:p>
                </p:txBody>
              </p:sp>
            </p:grpSp>
          </p:grpSp>
          <p:grpSp>
            <p:nvGrpSpPr>
              <p:cNvPr id="10" name="isļíḍe">
                <a:extLst>
                  <a:ext uri="{FF2B5EF4-FFF2-40B4-BE49-F238E27FC236}">
                    <a16:creationId xmlns:a16="http://schemas.microsoft.com/office/drawing/2014/main" id="{983BC99F-82E2-782D-2835-019811D21639}"/>
                  </a:ext>
                </a:extLst>
              </p:cNvPr>
              <p:cNvGrpSpPr/>
              <p:nvPr/>
            </p:nvGrpSpPr>
            <p:grpSpPr>
              <a:xfrm>
                <a:off x="6399038" y="4716375"/>
                <a:ext cx="4466271" cy="1484072"/>
                <a:chOff x="4366580" y="1214943"/>
                <a:chExt cx="4466271" cy="1484072"/>
              </a:xfrm>
            </p:grpSpPr>
            <p:sp>
              <p:nvSpPr>
                <p:cNvPr id="11" name="ïšlîḓe">
                  <a:extLst>
                    <a:ext uri="{FF2B5EF4-FFF2-40B4-BE49-F238E27FC236}">
                      <a16:creationId xmlns:a16="http://schemas.microsoft.com/office/drawing/2014/main" id="{1A10DB50-22E3-6D05-DBAC-21414D58840C}"/>
                    </a:ext>
                  </a:extLst>
                </p:cNvPr>
                <p:cNvSpPr/>
                <p:nvPr/>
              </p:nvSpPr>
              <p:spPr>
                <a:xfrm>
                  <a:off x="4366580" y="1377489"/>
                  <a:ext cx="4466271" cy="1216747"/>
                </a:xfrm>
                <a:prstGeom prst="roundRect">
                  <a:avLst>
                    <a:gd name="adj" fmla="val 7053"/>
                  </a:avLst>
                </a:prstGeom>
                <a:solidFill>
                  <a:schemeClr val="tx1">
                    <a:lumMod val="25000"/>
                    <a:lumOff val="75000"/>
                    <a:alpha val="20000"/>
                  </a:schemeClr>
                </a:solidFill>
                <a:ln w="6055" cap="flat">
                  <a:noFill/>
                  <a:prstDash val="solid"/>
                  <a:miter/>
                </a:ln>
              </p:spPr>
              <p:txBody>
                <a:bodyPr rtlCol="0" anchor="ctr"/>
                <a:lstStyle/>
                <a:p>
                  <a:endParaRPr lang="zh-CN" altLang="en-US"/>
                </a:p>
              </p:txBody>
            </p:sp>
            <p:grpSp>
              <p:nvGrpSpPr>
                <p:cNvPr id="12" name="íṧḻïdè">
                  <a:extLst>
                    <a:ext uri="{FF2B5EF4-FFF2-40B4-BE49-F238E27FC236}">
                      <a16:creationId xmlns:a16="http://schemas.microsoft.com/office/drawing/2014/main" id="{F526CE13-3E8F-85C8-7863-B0CA74037162}"/>
                    </a:ext>
                  </a:extLst>
                </p:cNvPr>
                <p:cNvGrpSpPr>
                  <a:grpSpLocks/>
                </p:cNvGrpSpPr>
                <p:nvPr/>
              </p:nvGrpSpPr>
              <p:grpSpPr>
                <a:xfrm>
                  <a:off x="4453124" y="1214943"/>
                  <a:ext cx="4293182" cy="1484072"/>
                  <a:chOff x="7062281" y="2852131"/>
                  <a:chExt cx="4293182" cy="1484072"/>
                </a:xfrm>
              </p:grpSpPr>
              <p:sp>
                <p:nvSpPr>
                  <p:cNvPr id="13" name="íS1íḍè">
                    <a:extLst>
                      <a:ext uri="{FF2B5EF4-FFF2-40B4-BE49-F238E27FC236}">
                        <a16:creationId xmlns:a16="http://schemas.microsoft.com/office/drawing/2014/main" id="{2EA9DD63-A74A-E5F3-4A10-20F8C5AF4029}"/>
                      </a:ext>
                    </a:extLst>
                  </p:cNvPr>
                  <p:cNvSpPr/>
                  <p:nvPr/>
                </p:nvSpPr>
                <p:spPr>
                  <a:xfrm>
                    <a:off x="7172678" y="2852131"/>
                    <a:ext cx="1921763" cy="324968"/>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54000" rIns="108000" bIns="54000" rtlCol="0" anchor="ctr" anchorCtr="0">
                    <a:spAutoFit/>
                  </a:bodyPr>
                  <a:lstStyle/>
                  <a:p>
                    <a:r>
                      <a:rPr kumimoji="1" lang="en-US" altLang="zh-CN" sz="1200" b="1" dirty="0">
                        <a:solidFill>
                          <a:schemeClr val="bg1"/>
                        </a:solidFill>
                      </a:rPr>
                      <a:t>Deep Learning-based</a:t>
                    </a:r>
                  </a:p>
                </p:txBody>
              </p:sp>
              <p:sp>
                <p:nvSpPr>
                  <p:cNvPr id="14" name="îṩḷiḋé">
                    <a:extLst>
                      <a:ext uri="{FF2B5EF4-FFF2-40B4-BE49-F238E27FC236}">
                        <a16:creationId xmlns:a16="http://schemas.microsoft.com/office/drawing/2014/main" id="{22AE7CD1-7783-717A-3748-7F244BFD7EC6}"/>
                      </a:ext>
                    </a:extLst>
                  </p:cNvPr>
                  <p:cNvSpPr/>
                  <p:nvPr/>
                </p:nvSpPr>
                <p:spPr>
                  <a:xfrm>
                    <a:off x="7062281" y="3182773"/>
                    <a:ext cx="4293182" cy="11534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p>
                    <a:pPr>
                      <a:lnSpc>
                        <a:spcPct val="130000"/>
                      </a:lnSpc>
                    </a:pPr>
                    <a:r>
                      <a:rPr lang="en-US" altLang="zh-CN" sz="1200" b="0" i="0" dirty="0">
                        <a:solidFill>
                          <a:srgbClr val="333333"/>
                        </a:solidFill>
                        <a:effectLst/>
                      </a:rPr>
                      <a:t>Deep neural networks are used to learn speech representation and generation patterns and to model the mapping relationship between text and speech, including Recurrent Neural Networks and Long Short-Term Memory</a:t>
                    </a:r>
                    <a:endParaRPr kumimoji="1" lang="en-US" altLang="zh-CN" sz="1200" dirty="0">
                      <a:solidFill>
                        <a:schemeClr val="tx1"/>
                      </a:solidFill>
                    </a:endParaRPr>
                  </a:p>
                </p:txBody>
              </p:sp>
            </p:grpSp>
          </p:grpSp>
        </p:grpSp>
      </p:grpSp>
      <p:sp>
        <p:nvSpPr>
          <p:cNvPr id="131" name="矩形 130">
            <a:extLst>
              <a:ext uri="{FF2B5EF4-FFF2-40B4-BE49-F238E27FC236}">
                <a16:creationId xmlns:a16="http://schemas.microsoft.com/office/drawing/2014/main" id="{D745AB54-885E-6EA9-D725-78E69D34B697}"/>
              </a:ext>
            </a:extLst>
          </p:cNvPr>
          <p:cNvSpPr>
            <a:spLocks noChangeAspect="1"/>
          </p:cNvSpPr>
          <p:nvPr/>
        </p:nvSpPr>
        <p:spPr>
          <a:xfrm>
            <a:off x="944420" y="2257506"/>
            <a:ext cx="4667797" cy="3500847"/>
          </a:xfrm>
          <a:prstGeom prst="rect">
            <a:avLst/>
          </a:prstGeom>
          <a:blipFill dpi="0" rotWithShape="1">
            <a:blip r:embed="rId3"/>
            <a:srcRect/>
            <a:stretch>
              <a:fillRect/>
            </a:stretch>
          </a:blipFill>
          <a:ln w="12700" cap="flat" cmpd="sng" algn="ctr">
            <a:noFill/>
            <a:prstDash val="solid"/>
            <a:miter lim="800000"/>
          </a:ln>
          <a:effectLst/>
          <a:extLst>
            <a:ext uri="{91240B29-F687-4F45-9708-019B960494DF}">
              <a14:hiddenLine xmlns:a14="http://schemas.microsoft.com/office/drawing/2010/main" w="12700" cap="flat" cmpd="sng" algn="ctr">
                <a:solidFill>
                  <a:schemeClr val="dk1"/>
                </a:solidFill>
                <a:prstDash val="solid"/>
                <a:miter lim="800000"/>
              </a14:hiddenLine>
            </a:ext>
          </a:extLst>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a:p>
        </p:txBody>
      </p:sp>
    </p:spTree>
    <p:custDataLst>
      <p:tags r:id="rId1"/>
    </p:custDataLst>
    <p:extLst>
      <p:ext uri="{BB962C8B-B14F-4D97-AF65-F5344CB8AC3E}">
        <p14:creationId xmlns:p14="http://schemas.microsoft.com/office/powerpoint/2010/main" val="264252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DA0CD0D-7CC9-824D-2F1E-7ADB503521A4}"/>
              </a:ext>
            </a:extLst>
          </p:cNvPr>
          <p:cNvSpPr>
            <a:spLocks noGrp="1"/>
          </p:cNvSpPr>
          <p:nvPr>
            <p:ph type="title"/>
          </p:nvPr>
        </p:nvSpPr>
        <p:spPr>
          <a:xfrm>
            <a:off x="669925" y="970526"/>
            <a:ext cx="10850563" cy="386787"/>
          </a:xfrm>
        </p:spPr>
        <p:txBody>
          <a:bodyPr>
            <a:normAutofit fontScale="90000"/>
          </a:bodyPr>
          <a:lstStyle/>
          <a:p>
            <a:r>
              <a:rPr lang="en-US" altLang="zh-CN" dirty="0"/>
              <a:t>Signal processing</a:t>
            </a:r>
            <a:br>
              <a:rPr lang="en-US" altLang="zh-CN" dirty="0"/>
            </a:br>
            <a:endParaRPr lang="zh-CN" altLang="en-US" dirty="0"/>
          </a:p>
        </p:txBody>
      </p:sp>
      <p:sp>
        <p:nvSpPr>
          <p:cNvPr id="4" name="灯片编号占位符 3">
            <a:extLst>
              <a:ext uri="{FF2B5EF4-FFF2-40B4-BE49-F238E27FC236}">
                <a16:creationId xmlns:a16="http://schemas.microsoft.com/office/drawing/2014/main" id="{834495FE-E875-0254-C86D-D062001106E2}"/>
              </a:ext>
            </a:extLst>
          </p:cNvPr>
          <p:cNvSpPr>
            <a:spLocks noGrp="1"/>
          </p:cNvSpPr>
          <p:nvPr>
            <p:ph type="sldNum" sz="quarter" idx="12"/>
          </p:nvPr>
        </p:nvSpPr>
        <p:spPr/>
        <p:txBody>
          <a:bodyPr/>
          <a:lstStyle/>
          <a:p>
            <a:fld id="{5DD3DB80-B894-403A-B48E-6FDC1A72010E}" type="slidenum">
              <a:rPr lang="zh-CN" altLang="en-US" smtClean="0"/>
              <a:pPr/>
              <a:t>8</a:t>
            </a:fld>
            <a:endParaRPr lang="zh-CN" altLang="en-US"/>
          </a:p>
        </p:txBody>
      </p:sp>
      <p:grpSp>
        <p:nvGrpSpPr>
          <p:cNvPr id="5" name="组合 4">
            <a:extLst>
              <a:ext uri="{FF2B5EF4-FFF2-40B4-BE49-F238E27FC236}">
                <a16:creationId xmlns:a16="http://schemas.microsoft.com/office/drawing/2014/main" id="{5F09EFAE-8BD9-73F3-A6B7-EDBD32A0208C}"/>
              </a:ext>
            </a:extLst>
          </p:cNvPr>
          <p:cNvGrpSpPr/>
          <p:nvPr/>
        </p:nvGrpSpPr>
        <p:grpSpPr>
          <a:xfrm>
            <a:off x="658812" y="1303897"/>
            <a:ext cx="10860088" cy="4461903"/>
            <a:chOff x="658812" y="1303897"/>
            <a:chExt cx="10860088" cy="4461903"/>
          </a:xfrm>
        </p:grpSpPr>
        <p:sp>
          <p:nvSpPr>
            <p:cNvPr id="6" name="椭圆 5">
              <a:extLst>
                <a:ext uri="{FF2B5EF4-FFF2-40B4-BE49-F238E27FC236}">
                  <a16:creationId xmlns:a16="http://schemas.microsoft.com/office/drawing/2014/main" id="{5F729AA0-1783-F099-A7C9-2B1C1DE1D2D3}"/>
                </a:ext>
              </a:extLst>
            </p:cNvPr>
            <p:cNvSpPr/>
            <p:nvPr/>
          </p:nvSpPr>
          <p:spPr>
            <a:xfrm>
              <a:off x="4007877" y="2641600"/>
              <a:ext cx="144000" cy="14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sz="1200">
                <a:solidFill>
                  <a:srgbClr val="FFFFFF"/>
                </a:solidFill>
              </a:endParaRPr>
            </a:p>
          </p:txBody>
        </p:sp>
        <p:sp>
          <p:nvSpPr>
            <p:cNvPr id="7" name="椭圆 6">
              <a:extLst>
                <a:ext uri="{FF2B5EF4-FFF2-40B4-BE49-F238E27FC236}">
                  <a16:creationId xmlns:a16="http://schemas.microsoft.com/office/drawing/2014/main" id="{D4832555-D50D-80DB-5FFC-853ABD760DD1}"/>
                </a:ext>
              </a:extLst>
            </p:cNvPr>
            <p:cNvSpPr/>
            <p:nvPr/>
          </p:nvSpPr>
          <p:spPr>
            <a:xfrm>
              <a:off x="8027424" y="2641600"/>
              <a:ext cx="144000" cy="14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sz="1200">
                <a:solidFill>
                  <a:srgbClr val="FFFFFF"/>
                </a:solidFill>
              </a:endParaRPr>
            </a:p>
          </p:txBody>
        </p:sp>
        <p:grpSp>
          <p:nvGrpSpPr>
            <p:cNvPr id="8" name="组合 7">
              <a:extLst>
                <a:ext uri="{FF2B5EF4-FFF2-40B4-BE49-F238E27FC236}">
                  <a16:creationId xmlns:a16="http://schemas.microsoft.com/office/drawing/2014/main" id="{8E410B23-3D50-ACBC-AD7A-B573D029F38A}"/>
                </a:ext>
              </a:extLst>
            </p:cNvPr>
            <p:cNvGrpSpPr/>
            <p:nvPr/>
          </p:nvGrpSpPr>
          <p:grpSpPr>
            <a:xfrm>
              <a:off x="658812" y="1303897"/>
              <a:ext cx="10860088" cy="2819407"/>
              <a:chOff x="658812" y="1303897"/>
              <a:chExt cx="10860088" cy="2819407"/>
            </a:xfrm>
          </p:grpSpPr>
          <p:grpSp>
            <p:nvGrpSpPr>
              <p:cNvPr id="10" name="组合 9">
                <a:extLst>
                  <a:ext uri="{FF2B5EF4-FFF2-40B4-BE49-F238E27FC236}">
                    <a16:creationId xmlns:a16="http://schemas.microsoft.com/office/drawing/2014/main" id="{7A05EA92-359D-2CFE-207B-40B139F7648D}"/>
                  </a:ext>
                </a:extLst>
              </p:cNvPr>
              <p:cNvGrpSpPr/>
              <p:nvPr/>
            </p:nvGrpSpPr>
            <p:grpSpPr>
              <a:xfrm>
                <a:off x="658812" y="1303897"/>
                <a:ext cx="2830519" cy="2819407"/>
                <a:chOff x="1294134" y="2508250"/>
                <a:chExt cx="2256760" cy="2247900"/>
              </a:xfrm>
            </p:grpSpPr>
            <p:sp>
              <p:nvSpPr>
                <p:cNvPr id="19" name="椭圆 18">
                  <a:extLst>
                    <a:ext uri="{FF2B5EF4-FFF2-40B4-BE49-F238E27FC236}">
                      <a16:creationId xmlns:a16="http://schemas.microsoft.com/office/drawing/2014/main" id="{5BFFF2FB-7A5F-0337-5C7C-864C1FE1A174}"/>
                    </a:ext>
                  </a:extLst>
                </p:cNvPr>
                <p:cNvSpPr/>
                <p:nvPr/>
              </p:nvSpPr>
              <p:spPr>
                <a:xfrm>
                  <a:off x="1295400" y="2508250"/>
                  <a:ext cx="2247900" cy="2247900"/>
                </a:xfrm>
                <a:prstGeom prst="ellipse">
                  <a:avLst/>
                </a:prstGeom>
                <a:solidFill>
                  <a:schemeClr val="accent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lnSpc>
                      <a:spcPct val="150000"/>
                    </a:lnSpc>
                    <a:buSzPct val="25000"/>
                    <a:defRPr/>
                  </a:pPr>
                  <a:endParaRPr kumimoji="0" lang="en-US" altLang="zh-CN" sz="1400" b="1" i="0" u="none" strike="noStrike" kern="1200" cap="none" spc="0" normalizeH="0" baseline="0" noProof="0" dirty="0">
                    <a:ln>
                      <a:noFill/>
                    </a:ln>
                    <a:solidFill>
                      <a:schemeClr val="tx1"/>
                    </a:solidFill>
                    <a:effectLst/>
                    <a:uLnTx/>
                    <a:uFillTx/>
                  </a:endParaRPr>
                </a:p>
              </p:txBody>
            </p:sp>
            <p:sp>
              <p:nvSpPr>
                <p:cNvPr id="20" name="文本框 19">
                  <a:extLst>
                    <a:ext uri="{FF2B5EF4-FFF2-40B4-BE49-F238E27FC236}">
                      <a16:creationId xmlns:a16="http://schemas.microsoft.com/office/drawing/2014/main" id="{473FB78D-93B9-B164-994F-E54DDF2C2C7C}"/>
                    </a:ext>
                  </a:extLst>
                </p:cNvPr>
                <p:cNvSpPr txBox="1"/>
                <p:nvPr/>
              </p:nvSpPr>
              <p:spPr>
                <a:xfrm>
                  <a:off x="1551965" y="2816633"/>
                  <a:ext cx="1734770" cy="417161"/>
                </a:xfrm>
                <a:prstGeom prst="rect">
                  <a:avLst/>
                </a:prstGeom>
                <a:noFill/>
              </p:spPr>
              <p:txBody>
                <a:bodyPr wrap="square" rtlCol="0">
                  <a:spAutoFit/>
                </a:bodyPr>
                <a:lstStyle/>
                <a:p>
                  <a:pPr algn="ctr"/>
                  <a:r>
                    <a:rPr kumimoji="0" lang="en-US" sz="1400" b="1" i="0" u="none" strike="noStrike" kern="1200" cap="none" spc="0" normalizeH="0" baseline="0" noProof="0" dirty="0">
                      <a:ln>
                        <a:noFill/>
                      </a:ln>
                      <a:solidFill>
                        <a:schemeClr val="tx1"/>
                      </a:solidFill>
                      <a:effectLst/>
                      <a:uLnTx/>
                      <a:uFillTx/>
                    </a:rPr>
                    <a:t>Acoustic feature extraction</a:t>
                  </a:r>
                </a:p>
              </p:txBody>
            </p:sp>
            <p:sp>
              <p:nvSpPr>
                <p:cNvPr id="21" name="文本框 20">
                  <a:extLst>
                    <a:ext uri="{FF2B5EF4-FFF2-40B4-BE49-F238E27FC236}">
                      <a16:creationId xmlns:a16="http://schemas.microsoft.com/office/drawing/2014/main" id="{427A580C-EC2D-0BD3-09D0-51E0B37B13D5}"/>
                    </a:ext>
                  </a:extLst>
                </p:cNvPr>
                <p:cNvSpPr txBox="1"/>
                <p:nvPr/>
              </p:nvSpPr>
              <p:spPr>
                <a:xfrm>
                  <a:off x="1294134" y="3233366"/>
                  <a:ext cx="2256760" cy="1150618"/>
                </a:xfrm>
                <a:prstGeom prst="rect">
                  <a:avLst/>
                </a:prstGeom>
                <a:noFill/>
              </p:spPr>
              <p:txBody>
                <a:bodyPr wrap="square" rtlCol="0">
                  <a:spAutoFit/>
                </a:bodyPr>
                <a:lstStyle/>
                <a:p>
                  <a:pPr algn="ctr">
                    <a:lnSpc>
                      <a:spcPct val="150000"/>
                    </a:lnSpc>
                  </a:pPr>
                  <a:r>
                    <a:rPr kumimoji="0" lang="en-US" sz="1200" i="0" u="none" strike="noStrike" kern="1200" cap="none" spc="0" normalizeH="0" baseline="0" noProof="0" dirty="0">
                      <a:ln>
                        <a:noFill/>
                      </a:ln>
                      <a:solidFill>
                        <a:schemeClr val="tx1"/>
                      </a:solidFill>
                      <a:effectLst/>
                      <a:uLnTx/>
                      <a:uFillTx/>
                    </a:rPr>
                    <a:t>The process of extracting relevant sound features from speech signals. These features are used to describe the time-domain and frequency-domain characteristics of sound</a:t>
                  </a:r>
                  <a:endParaRPr kumimoji="0" lang="en-GB" sz="1200" i="0" u="none" strike="noStrike" kern="1200" cap="none" spc="0" normalizeH="0" baseline="0" noProof="0" dirty="0">
                    <a:ln>
                      <a:noFill/>
                    </a:ln>
                    <a:solidFill>
                      <a:schemeClr val="tx1"/>
                    </a:solidFill>
                    <a:effectLst/>
                    <a:uLnTx/>
                    <a:uFillTx/>
                  </a:endParaRPr>
                </a:p>
              </p:txBody>
            </p:sp>
          </p:grpSp>
          <p:grpSp>
            <p:nvGrpSpPr>
              <p:cNvPr id="11" name="组合 10">
                <a:extLst>
                  <a:ext uri="{FF2B5EF4-FFF2-40B4-BE49-F238E27FC236}">
                    <a16:creationId xmlns:a16="http://schemas.microsoft.com/office/drawing/2014/main" id="{4B811062-B9BF-BEE2-AA94-DA07669ACB24}"/>
                  </a:ext>
                </a:extLst>
              </p:cNvPr>
              <p:cNvGrpSpPr/>
              <p:nvPr/>
            </p:nvGrpSpPr>
            <p:grpSpPr>
              <a:xfrm>
                <a:off x="4591610" y="1303897"/>
                <a:ext cx="3008780" cy="2819407"/>
                <a:chOff x="1224969" y="2508250"/>
                <a:chExt cx="2398886" cy="2247900"/>
              </a:xfrm>
            </p:grpSpPr>
            <p:sp>
              <p:nvSpPr>
                <p:cNvPr id="16" name="椭圆 15">
                  <a:extLst>
                    <a:ext uri="{FF2B5EF4-FFF2-40B4-BE49-F238E27FC236}">
                      <a16:creationId xmlns:a16="http://schemas.microsoft.com/office/drawing/2014/main" id="{91F984DC-6D70-6CA5-AD6B-209C5F153BD6}"/>
                    </a:ext>
                  </a:extLst>
                </p:cNvPr>
                <p:cNvSpPr/>
                <p:nvPr/>
              </p:nvSpPr>
              <p:spPr>
                <a:xfrm>
                  <a:off x="1295400" y="2508250"/>
                  <a:ext cx="2247900" cy="2247900"/>
                </a:xfrm>
                <a:prstGeom prst="ellipse">
                  <a:avLst/>
                </a:prstGeom>
                <a:solidFill>
                  <a:schemeClr val="accent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lnSpc>
                      <a:spcPct val="150000"/>
                    </a:lnSpc>
                    <a:buSzPct val="25000"/>
                    <a:defRPr/>
                  </a:pPr>
                  <a:endParaRPr kumimoji="0" lang="en-US" altLang="zh-CN" sz="1400" b="1" i="0" u="none" strike="noStrike" kern="1200" cap="none" spc="0" normalizeH="0" baseline="0" noProof="0" dirty="0">
                    <a:ln>
                      <a:noFill/>
                    </a:ln>
                    <a:solidFill>
                      <a:schemeClr val="tx1"/>
                    </a:solidFill>
                    <a:effectLst/>
                    <a:uLnTx/>
                    <a:uFillTx/>
                  </a:endParaRPr>
                </a:p>
              </p:txBody>
            </p:sp>
            <p:sp>
              <p:nvSpPr>
                <p:cNvPr id="17" name="文本框 16">
                  <a:extLst>
                    <a:ext uri="{FF2B5EF4-FFF2-40B4-BE49-F238E27FC236}">
                      <a16:creationId xmlns:a16="http://schemas.microsoft.com/office/drawing/2014/main" id="{C44861E8-7673-790B-C557-7718878AA912}"/>
                    </a:ext>
                  </a:extLst>
                </p:cNvPr>
                <p:cNvSpPr txBox="1"/>
                <p:nvPr/>
              </p:nvSpPr>
              <p:spPr>
                <a:xfrm>
                  <a:off x="1557027" y="2816633"/>
                  <a:ext cx="1734770" cy="245389"/>
                </a:xfrm>
                <a:prstGeom prst="rect">
                  <a:avLst/>
                </a:prstGeom>
                <a:noFill/>
              </p:spPr>
              <p:txBody>
                <a:bodyPr wrap="square" rtlCol="0">
                  <a:spAutoFit/>
                </a:bodyPr>
                <a:lstStyle/>
                <a:p>
                  <a:pPr algn="ctr"/>
                  <a:r>
                    <a:rPr kumimoji="0" lang="en-US" sz="1400" b="1" i="0" u="none" strike="noStrike" kern="1200" cap="none" spc="0" normalizeH="0" baseline="0" noProof="0" dirty="0">
                      <a:ln>
                        <a:noFill/>
                      </a:ln>
                      <a:solidFill>
                        <a:schemeClr val="tx1"/>
                      </a:solidFill>
                      <a:effectLst/>
                      <a:uLnTx/>
                      <a:uFillTx/>
                    </a:rPr>
                    <a:t>Phoneme alignment</a:t>
                  </a:r>
                </a:p>
              </p:txBody>
            </p:sp>
            <p:sp>
              <p:nvSpPr>
                <p:cNvPr id="18" name="文本框 17">
                  <a:extLst>
                    <a:ext uri="{FF2B5EF4-FFF2-40B4-BE49-F238E27FC236}">
                      <a16:creationId xmlns:a16="http://schemas.microsoft.com/office/drawing/2014/main" id="{6E1084D1-99A1-E110-FACD-496773B8970C}"/>
                    </a:ext>
                  </a:extLst>
                </p:cNvPr>
                <p:cNvSpPr txBox="1"/>
                <p:nvPr/>
              </p:nvSpPr>
              <p:spPr>
                <a:xfrm>
                  <a:off x="1224969" y="3233366"/>
                  <a:ext cx="2398886" cy="1371468"/>
                </a:xfrm>
                <a:prstGeom prst="rect">
                  <a:avLst/>
                </a:prstGeom>
                <a:noFill/>
              </p:spPr>
              <p:txBody>
                <a:bodyPr wrap="square" rtlCol="0">
                  <a:spAutoFit/>
                </a:bodyPr>
                <a:lstStyle/>
                <a:p>
                  <a:pPr algn="ctr">
                    <a:lnSpc>
                      <a:spcPct val="150000"/>
                    </a:lnSpc>
                  </a:pPr>
                  <a:r>
                    <a:rPr kumimoji="0" lang="en-US" sz="1200" i="0" u="none" strike="noStrike" kern="1200" cap="none" spc="0" normalizeH="0" baseline="0" noProof="0" dirty="0">
                      <a:ln>
                        <a:noFill/>
                      </a:ln>
                      <a:solidFill>
                        <a:schemeClr val="tx1"/>
                      </a:solidFill>
                      <a:effectLst/>
                      <a:uLnTx/>
                      <a:uFillTx/>
                    </a:rPr>
                    <a:t>The process of aligning input text with phonemes (phonetic units)</a:t>
                  </a:r>
                  <a:r>
                    <a:rPr lang="en-US" sz="1200" dirty="0"/>
                    <a:t>. Text is usually converted into a sequence of phonemes, each representing a basic unit in speech.</a:t>
                  </a:r>
                </a:p>
                <a:p>
                  <a:pPr algn="ctr">
                    <a:lnSpc>
                      <a:spcPct val="150000"/>
                    </a:lnSpc>
                  </a:pPr>
                  <a:r>
                    <a:rPr kumimoji="0" lang="en-US" sz="1200" i="0" u="none" strike="noStrike" kern="1200" cap="none" spc="0" normalizeH="0" baseline="0" noProof="0" dirty="0">
                      <a:ln>
                        <a:noFill/>
                      </a:ln>
                      <a:solidFill>
                        <a:schemeClr val="tx1"/>
                      </a:solidFill>
                      <a:effectLst/>
                      <a:uLnTx/>
                      <a:uFillTx/>
                    </a:rPr>
                    <a:t>It determines the length and position of each phoneme</a:t>
                  </a:r>
                  <a:endParaRPr kumimoji="0" lang="en-GB" sz="1200" i="0" u="none" strike="noStrike" kern="1200" cap="none" spc="0" normalizeH="0" baseline="0" noProof="0" dirty="0">
                    <a:ln>
                      <a:noFill/>
                    </a:ln>
                    <a:solidFill>
                      <a:schemeClr val="tx1"/>
                    </a:solidFill>
                    <a:effectLst/>
                    <a:uLnTx/>
                    <a:uFillTx/>
                  </a:endParaRPr>
                </a:p>
              </p:txBody>
            </p:sp>
          </p:grpSp>
          <p:grpSp>
            <p:nvGrpSpPr>
              <p:cNvPr id="12" name="组合 11">
                <a:extLst>
                  <a:ext uri="{FF2B5EF4-FFF2-40B4-BE49-F238E27FC236}">
                    <a16:creationId xmlns:a16="http://schemas.microsoft.com/office/drawing/2014/main" id="{9F11415C-EDB4-1869-A56F-2A4CC29D52BB}"/>
                  </a:ext>
                </a:extLst>
              </p:cNvPr>
              <p:cNvGrpSpPr/>
              <p:nvPr/>
            </p:nvGrpSpPr>
            <p:grpSpPr>
              <a:xfrm>
                <a:off x="8655839" y="1303897"/>
                <a:ext cx="2863061" cy="2819407"/>
                <a:chOff x="1260595" y="2508250"/>
                <a:chExt cx="2282705" cy="2247900"/>
              </a:xfrm>
            </p:grpSpPr>
            <p:sp>
              <p:nvSpPr>
                <p:cNvPr id="13" name="椭圆 12">
                  <a:extLst>
                    <a:ext uri="{FF2B5EF4-FFF2-40B4-BE49-F238E27FC236}">
                      <a16:creationId xmlns:a16="http://schemas.microsoft.com/office/drawing/2014/main" id="{7CB449F0-6A0A-A840-4FAE-994EDB1B422B}"/>
                    </a:ext>
                  </a:extLst>
                </p:cNvPr>
                <p:cNvSpPr/>
                <p:nvPr/>
              </p:nvSpPr>
              <p:spPr>
                <a:xfrm>
                  <a:off x="1295400" y="2508250"/>
                  <a:ext cx="2247900" cy="2247900"/>
                </a:xfrm>
                <a:prstGeom prst="ellipse">
                  <a:avLst/>
                </a:prstGeom>
                <a:solidFill>
                  <a:schemeClr val="accent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lnSpc>
                      <a:spcPct val="150000"/>
                    </a:lnSpc>
                    <a:buSzPct val="25000"/>
                    <a:defRPr/>
                  </a:pPr>
                  <a:endParaRPr kumimoji="0" lang="en-US" altLang="zh-CN" sz="1400" b="1" i="0" u="none" strike="noStrike" kern="1200" cap="none" spc="0" normalizeH="0" baseline="0" noProof="0" dirty="0">
                    <a:ln>
                      <a:noFill/>
                    </a:ln>
                    <a:solidFill>
                      <a:schemeClr val="tx1"/>
                    </a:solidFill>
                    <a:effectLst/>
                    <a:uLnTx/>
                    <a:uFillTx/>
                  </a:endParaRPr>
                </a:p>
              </p:txBody>
            </p:sp>
            <p:sp>
              <p:nvSpPr>
                <p:cNvPr id="14" name="文本框 13">
                  <a:extLst>
                    <a:ext uri="{FF2B5EF4-FFF2-40B4-BE49-F238E27FC236}">
                      <a16:creationId xmlns:a16="http://schemas.microsoft.com/office/drawing/2014/main" id="{E0C41AA2-0221-B586-9FA0-ED5977769D83}"/>
                    </a:ext>
                  </a:extLst>
                </p:cNvPr>
                <p:cNvSpPr txBox="1"/>
                <p:nvPr/>
              </p:nvSpPr>
              <p:spPr>
                <a:xfrm>
                  <a:off x="1546080" y="2818322"/>
                  <a:ext cx="1734770" cy="417161"/>
                </a:xfrm>
                <a:prstGeom prst="rect">
                  <a:avLst/>
                </a:prstGeom>
                <a:noFill/>
              </p:spPr>
              <p:txBody>
                <a:bodyPr wrap="square" rtlCol="0">
                  <a:spAutoFit/>
                </a:bodyPr>
                <a:lstStyle/>
                <a:p>
                  <a:pPr algn="ctr"/>
                  <a:r>
                    <a:rPr kumimoji="0" lang="en-US" sz="1400" b="1" i="0" u="none" strike="noStrike" kern="1200" cap="none" spc="0" normalizeH="0" baseline="0" noProof="0" dirty="0">
                      <a:ln>
                        <a:noFill/>
                      </a:ln>
                      <a:solidFill>
                        <a:schemeClr val="tx1"/>
                      </a:solidFill>
                      <a:effectLst/>
                      <a:uLnTx/>
                      <a:uFillTx/>
                    </a:rPr>
                    <a:t>Speech synthesis parameter generation</a:t>
                  </a:r>
                </a:p>
              </p:txBody>
            </p:sp>
            <p:sp>
              <p:nvSpPr>
                <p:cNvPr id="15" name="文本框 14">
                  <a:extLst>
                    <a:ext uri="{FF2B5EF4-FFF2-40B4-BE49-F238E27FC236}">
                      <a16:creationId xmlns:a16="http://schemas.microsoft.com/office/drawing/2014/main" id="{1E568977-C5A9-9387-FE66-4B3B213ED9A0}"/>
                    </a:ext>
                  </a:extLst>
                </p:cNvPr>
                <p:cNvSpPr txBox="1"/>
                <p:nvPr/>
              </p:nvSpPr>
              <p:spPr>
                <a:xfrm>
                  <a:off x="1260595" y="3233366"/>
                  <a:ext cx="2247900" cy="1371469"/>
                </a:xfrm>
                <a:prstGeom prst="rect">
                  <a:avLst/>
                </a:prstGeom>
                <a:noFill/>
              </p:spPr>
              <p:txBody>
                <a:bodyPr wrap="square" rtlCol="0">
                  <a:spAutoFit/>
                </a:bodyPr>
                <a:lstStyle/>
                <a:p>
                  <a:pPr algn="ctr">
                    <a:lnSpc>
                      <a:spcPct val="150000"/>
                    </a:lnSpc>
                  </a:pPr>
                  <a:r>
                    <a:rPr lang="en-US" sz="1200" dirty="0"/>
                    <a:t>B</a:t>
                  </a:r>
                  <a:r>
                    <a:rPr kumimoji="0" lang="en-US" sz="1200" i="0" u="none" strike="noStrike" kern="1200" cap="none" spc="0" normalizeH="0" baseline="0" noProof="0" dirty="0" err="1">
                      <a:ln>
                        <a:noFill/>
                      </a:ln>
                      <a:solidFill>
                        <a:schemeClr val="tx1"/>
                      </a:solidFill>
                      <a:effectLst/>
                      <a:uLnTx/>
                      <a:uFillTx/>
                    </a:rPr>
                    <a:t>ased</a:t>
                  </a:r>
                  <a:r>
                    <a:rPr kumimoji="0" lang="en-US" sz="1200" i="0" u="none" strike="noStrike" kern="1200" cap="none" spc="0" normalizeH="0" baseline="0" noProof="0" dirty="0">
                      <a:ln>
                        <a:noFill/>
                      </a:ln>
                      <a:solidFill>
                        <a:schemeClr val="tx1"/>
                      </a:solidFill>
                      <a:effectLst/>
                      <a:uLnTx/>
                      <a:uFillTx/>
                    </a:rPr>
                    <a:t> on the input text and aligned phonemes, a sequence of parameters for synthesizing speech is generated. These parameters describe characteristics such as the length, frequency and intensity of a sound.</a:t>
                  </a:r>
                  <a:endParaRPr kumimoji="0" lang="en-GB" sz="1200" i="0" u="none" strike="noStrike" kern="1200" cap="none" spc="0" normalizeH="0" baseline="0" noProof="0" dirty="0">
                    <a:ln>
                      <a:noFill/>
                    </a:ln>
                    <a:solidFill>
                      <a:schemeClr val="tx1"/>
                    </a:solidFill>
                    <a:effectLst/>
                    <a:uLnTx/>
                    <a:uFillTx/>
                  </a:endParaRPr>
                </a:p>
              </p:txBody>
            </p:sp>
          </p:grpSp>
        </p:grpSp>
        <p:sp>
          <p:nvSpPr>
            <p:cNvPr id="9" name="圆角矩形 22">
              <a:extLst>
                <a:ext uri="{FF2B5EF4-FFF2-40B4-BE49-F238E27FC236}">
                  <a16:creationId xmlns:a16="http://schemas.microsoft.com/office/drawing/2014/main" id="{AB38064D-3D62-13B3-7EB4-FB3D8EEF4C7F}"/>
                </a:ext>
              </a:extLst>
            </p:cNvPr>
            <p:cNvSpPr/>
            <p:nvPr/>
          </p:nvSpPr>
          <p:spPr>
            <a:xfrm>
              <a:off x="660400" y="4216400"/>
              <a:ext cx="10858500" cy="1549400"/>
            </a:xfrm>
            <a:prstGeom prst="roundRect">
              <a:avLst>
                <a:gd name="adj" fmla="val 50000"/>
              </a:avLst>
            </a:prstGeom>
            <a:blipFill>
              <a:blip r:embed="rId3"/>
              <a:stretch>
                <a:fillRect t="-169838" b="-167076"/>
              </a:stretch>
            </a:blipFill>
            <a:ln w="38100">
              <a:noFill/>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endParaRPr lang="en-GB"/>
            </a:p>
          </p:txBody>
        </p:sp>
      </p:grpSp>
    </p:spTree>
    <p:custDataLst>
      <p:tags r:id="rId1"/>
    </p:custDataLst>
    <p:extLst>
      <p:ext uri="{BB962C8B-B14F-4D97-AF65-F5344CB8AC3E}">
        <p14:creationId xmlns:p14="http://schemas.microsoft.com/office/powerpoint/2010/main" val="347493311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椭圆 21">
            <a:extLst>
              <a:ext uri="{FF2B5EF4-FFF2-40B4-BE49-F238E27FC236}">
                <a16:creationId xmlns:a16="http://schemas.microsoft.com/office/drawing/2014/main" id="{18463BA6-E9A8-287C-52A4-33C7AF582B1B}"/>
              </a:ext>
            </a:extLst>
          </p:cNvPr>
          <p:cNvSpPr/>
          <p:nvPr/>
        </p:nvSpPr>
        <p:spPr>
          <a:xfrm>
            <a:off x="7851280" y="4714670"/>
            <a:ext cx="1228725" cy="1228725"/>
          </a:xfrm>
          <a:prstGeom prst="ellipse">
            <a:avLst/>
          </a:prstGeom>
          <a:solidFill>
            <a:schemeClr val="accent6"/>
          </a:solidFill>
          <a:ln w="12700" cap="rnd">
            <a:noFill/>
            <a:prstDash val="solid"/>
            <a:round/>
            <a:headEnd/>
            <a:tailEnd/>
          </a:ln>
          <a:effectLst>
            <a:outerShdw blurRad="254000" dist="127000" algn="ctr" rotWithShape="0">
              <a:schemeClr val="accent6">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defTabSz="914354"/>
            <a:endParaRPr lang="zh-CN" altLang="en-US" sz="2000" b="1" dirty="0">
              <a:solidFill>
                <a:schemeClr val="bg1"/>
              </a:solidFill>
            </a:endParaRPr>
          </a:p>
        </p:txBody>
      </p:sp>
      <p:sp>
        <p:nvSpPr>
          <p:cNvPr id="21" name="椭圆 20">
            <a:extLst>
              <a:ext uri="{FF2B5EF4-FFF2-40B4-BE49-F238E27FC236}">
                <a16:creationId xmlns:a16="http://schemas.microsoft.com/office/drawing/2014/main" id="{1E964849-75D1-E0AC-10E5-61891D50097A}"/>
              </a:ext>
            </a:extLst>
          </p:cNvPr>
          <p:cNvSpPr/>
          <p:nvPr/>
        </p:nvSpPr>
        <p:spPr>
          <a:xfrm>
            <a:off x="4190709" y="3142420"/>
            <a:ext cx="1228725" cy="1228725"/>
          </a:xfrm>
          <a:prstGeom prst="ellipse">
            <a:avLst/>
          </a:prstGeom>
          <a:solidFill>
            <a:schemeClr val="accent1"/>
          </a:solidFill>
          <a:ln w="12700" cap="rnd">
            <a:noFill/>
            <a:prstDash val="solid"/>
            <a:round/>
            <a:headEnd/>
            <a:tailEnd/>
          </a:ln>
          <a:effectLst>
            <a:outerShdw blurRad="254000" dist="127000" algn="ctr" rotWithShape="0">
              <a:schemeClr val="accent1">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1600" b="1">
              <a:solidFill>
                <a:srgbClr val="FFFFFF"/>
              </a:solidFill>
            </a:endParaRPr>
          </a:p>
        </p:txBody>
      </p:sp>
      <p:sp>
        <p:nvSpPr>
          <p:cNvPr id="2" name="标题 1">
            <a:extLst>
              <a:ext uri="{FF2B5EF4-FFF2-40B4-BE49-F238E27FC236}">
                <a16:creationId xmlns:a16="http://schemas.microsoft.com/office/drawing/2014/main" id="{1EE4C524-2916-1396-70C0-A7A61D0E8192}"/>
              </a:ext>
            </a:extLst>
          </p:cNvPr>
          <p:cNvSpPr>
            <a:spLocks noGrp="1"/>
          </p:cNvSpPr>
          <p:nvPr>
            <p:ph type="title"/>
          </p:nvPr>
        </p:nvSpPr>
        <p:spPr/>
        <p:txBody>
          <a:bodyPr/>
          <a:lstStyle/>
          <a:p>
            <a:r>
              <a:rPr lang="en-US" altLang="zh-CN" dirty="0"/>
              <a:t>Common text-to-speech library</a:t>
            </a:r>
            <a:endParaRPr lang="zh-CN" altLang="en-US" dirty="0"/>
          </a:p>
        </p:txBody>
      </p:sp>
      <p:sp>
        <p:nvSpPr>
          <p:cNvPr id="4" name="灯片编号占位符 3">
            <a:extLst>
              <a:ext uri="{FF2B5EF4-FFF2-40B4-BE49-F238E27FC236}">
                <a16:creationId xmlns:a16="http://schemas.microsoft.com/office/drawing/2014/main" id="{52D5AD7D-7702-3648-0E5A-A8FF11CA62C9}"/>
              </a:ext>
            </a:extLst>
          </p:cNvPr>
          <p:cNvSpPr>
            <a:spLocks noGrp="1"/>
          </p:cNvSpPr>
          <p:nvPr>
            <p:ph type="sldNum" sz="quarter" idx="12"/>
          </p:nvPr>
        </p:nvSpPr>
        <p:spPr/>
        <p:txBody>
          <a:bodyPr/>
          <a:lstStyle/>
          <a:p>
            <a:fld id="{5DD3DB80-B894-403A-B48E-6FDC1A72010E}" type="slidenum">
              <a:rPr lang="zh-CN" altLang="en-US" smtClean="0"/>
              <a:pPr/>
              <a:t>9</a:t>
            </a:fld>
            <a:endParaRPr lang="zh-CN" altLang="en-US"/>
          </a:p>
        </p:txBody>
      </p:sp>
      <p:grpSp>
        <p:nvGrpSpPr>
          <p:cNvPr id="5" name="组合 4">
            <a:extLst>
              <a:ext uri="{FF2B5EF4-FFF2-40B4-BE49-F238E27FC236}">
                <a16:creationId xmlns:a16="http://schemas.microsoft.com/office/drawing/2014/main" id="{B9AF5287-DD52-BC42-A63C-E6141D3B3763}"/>
              </a:ext>
            </a:extLst>
          </p:cNvPr>
          <p:cNvGrpSpPr/>
          <p:nvPr/>
        </p:nvGrpSpPr>
        <p:grpSpPr>
          <a:xfrm>
            <a:off x="849324" y="1170943"/>
            <a:ext cx="10939071" cy="5038217"/>
            <a:chOff x="857022" y="1120295"/>
            <a:chExt cx="10610138" cy="4256332"/>
          </a:xfrm>
        </p:grpSpPr>
        <p:sp>
          <p:nvSpPr>
            <p:cNvPr id="6" name="椭圆 5">
              <a:extLst>
                <a:ext uri="{FF2B5EF4-FFF2-40B4-BE49-F238E27FC236}">
                  <a16:creationId xmlns:a16="http://schemas.microsoft.com/office/drawing/2014/main" id="{1020AE78-EA93-9C44-6ECA-05CA018C5C5F}"/>
                </a:ext>
              </a:extLst>
            </p:cNvPr>
            <p:cNvSpPr/>
            <p:nvPr/>
          </p:nvSpPr>
          <p:spPr>
            <a:xfrm>
              <a:off x="5614796" y="2415292"/>
              <a:ext cx="1218877" cy="1105464"/>
            </a:xfrm>
            <a:prstGeom prst="ellipse">
              <a:avLst/>
            </a:prstGeom>
            <a:solidFill>
              <a:schemeClr val="accent6"/>
            </a:solidFill>
            <a:ln w="12700" cap="rnd">
              <a:noFill/>
              <a:prstDash val="solid"/>
              <a:round/>
              <a:headEnd/>
              <a:tailEnd/>
            </a:ln>
            <a:effectLst>
              <a:outerShdw blurRad="254000" dist="127000" algn="ctr" rotWithShape="0">
                <a:schemeClr val="accent6">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defTabSz="914354"/>
              <a:endParaRPr lang="zh-CN" altLang="en-US" sz="2000" b="1" dirty="0">
                <a:solidFill>
                  <a:schemeClr val="bg1"/>
                </a:solidFill>
              </a:endParaRPr>
            </a:p>
          </p:txBody>
        </p:sp>
        <p:sp>
          <p:nvSpPr>
            <p:cNvPr id="7" name="椭圆 6">
              <a:extLst>
                <a:ext uri="{FF2B5EF4-FFF2-40B4-BE49-F238E27FC236}">
                  <a16:creationId xmlns:a16="http://schemas.microsoft.com/office/drawing/2014/main" id="{DD6483D9-5EF6-D5EE-B79D-4AB96B8E0743}"/>
                </a:ext>
              </a:extLst>
            </p:cNvPr>
            <p:cNvSpPr/>
            <p:nvPr/>
          </p:nvSpPr>
          <p:spPr>
            <a:xfrm>
              <a:off x="3294392" y="4029474"/>
              <a:ext cx="1191778" cy="1145663"/>
            </a:xfrm>
            <a:prstGeom prst="ellipse">
              <a:avLst/>
            </a:prstGeom>
            <a:solidFill>
              <a:schemeClr val="accent5"/>
            </a:solidFill>
            <a:ln w="12700" cap="rnd">
              <a:noFill/>
              <a:prstDash val="solid"/>
              <a:round/>
              <a:headEnd/>
              <a:tailEnd/>
            </a:ln>
            <a:effectLst>
              <a:outerShdw blurRad="254000" dist="127000" algn="ctr" rotWithShape="0">
                <a:schemeClr val="accent5">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1600" b="1" dirty="0">
                <a:solidFill>
                  <a:srgbClr val="FFFFFF"/>
                </a:solidFill>
              </a:endParaRPr>
            </a:p>
          </p:txBody>
        </p:sp>
        <p:sp>
          <p:nvSpPr>
            <p:cNvPr id="8" name="椭圆 7">
              <a:extLst>
                <a:ext uri="{FF2B5EF4-FFF2-40B4-BE49-F238E27FC236}">
                  <a16:creationId xmlns:a16="http://schemas.microsoft.com/office/drawing/2014/main" id="{284FD787-D592-B128-E0E4-E3B209B4646D}"/>
                </a:ext>
              </a:extLst>
            </p:cNvPr>
            <p:cNvSpPr/>
            <p:nvPr/>
          </p:nvSpPr>
          <p:spPr>
            <a:xfrm>
              <a:off x="7025443" y="2991436"/>
              <a:ext cx="1218878" cy="1038038"/>
            </a:xfrm>
            <a:prstGeom prst="ellipse">
              <a:avLst/>
            </a:prstGeom>
            <a:solidFill>
              <a:schemeClr val="accent1"/>
            </a:solidFill>
            <a:ln w="12700" cap="rnd">
              <a:noFill/>
              <a:prstDash val="solid"/>
              <a:round/>
              <a:headEnd/>
              <a:tailEnd/>
            </a:ln>
            <a:effectLst>
              <a:outerShdw blurRad="254000" dist="127000" algn="ctr" rotWithShape="0">
                <a:schemeClr val="accent1">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1600" b="1" dirty="0">
                <a:solidFill>
                  <a:srgbClr val="FFFFFF"/>
                </a:solidFill>
              </a:endParaRPr>
            </a:p>
          </p:txBody>
        </p:sp>
        <p:sp>
          <p:nvSpPr>
            <p:cNvPr id="9" name="任意多边形 6">
              <a:extLst>
                <a:ext uri="{FF2B5EF4-FFF2-40B4-BE49-F238E27FC236}">
                  <a16:creationId xmlns:a16="http://schemas.microsoft.com/office/drawing/2014/main" id="{F538BE61-39F2-C7FC-4A83-1AF75B9E7BA7}"/>
                </a:ext>
              </a:extLst>
            </p:cNvPr>
            <p:cNvSpPr/>
            <p:nvPr/>
          </p:nvSpPr>
          <p:spPr>
            <a:xfrm>
              <a:off x="3989161" y="3093811"/>
              <a:ext cx="4213678" cy="2106839"/>
            </a:xfrm>
            <a:custGeom>
              <a:avLst/>
              <a:gdLst>
                <a:gd name="connsiteX0" fmla="*/ 2106839 w 4213678"/>
                <a:gd name="connsiteY0" fmla="*/ 0 h 2106839"/>
                <a:gd name="connsiteX1" fmla="*/ 4213678 w 4213678"/>
                <a:gd name="connsiteY1" fmla="*/ 2106839 h 2106839"/>
                <a:gd name="connsiteX2" fmla="*/ 0 w 4213678"/>
                <a:gd name="connsiteY2" fmla="*/ 2106839 h 2106839"/>
                <a:gd name="connsiteX3" fmla="*/ 2106839 w 4213678"/>
                <a:gd name="connsiteY3" fmla="*/ 0 h 2106839"/>
              </a:gdLst>
              <a:ahLst/>
              <a:cxnLst>
                <a:cxn ang="0">
                  <a:pos x="connsiteX0" y="connsiteY0"/>
                </a:cxn>
                <a:cxn ang="0">
                  <a:pos x="connsiteX1" y="connsiteY1"/>
                </a:cxn>
                <a:cxn ang="0">
                  <a:pos x="connsiteX2" y="connsiteY2"/>
                </a:cxn>
                <a:cxn ang="0">
                  <a:pos x="connsiteX3" y="connsiteY3"/>
                </a:cxn>
              </a:cxnLst>
              <a:rect l="l" t="t" r="r" b="b"/>
              <a:pathLst>
                <a:path w="4213678" h="2106839">
                  <a:moveTo>
                    <a:pt x="2106839" y="0"/>
                  </a:moveTo>
                  <a:cubicBezTo>
                    <a:pt x="3270414" y="0"/>
                    <a:pt x="4213678" y="943264"/>
                    <a:pt x="4213678" y="2106839"/>
                  </a:cubicBezTo>
                  <a:lnTo>
                    <a:pt x="0" y="2106839"/>
                  </a:lnTo>
                  <a:cubicBezTo>
                    <a:pt x="0" y="943264"/>
                    <a:pt x="943264" y="0"/>
                    <a:pt x="2106839" y="0"/>
                  </a:cubicBezTo>
                  <a:close/>
                </a:path>
              </a:pathLst>
            </a:custGeom>
            <a:solidFill>
              <a:srgbClr val="FFFFFF"/>
            </a:solidFill>
            <a:ln w="12700" cap="rnd">
              <a:noFill/>
              <a:prstDash val="solid"/>
              <a:round/>
              <a:headEnd/>
              <a:tailEnd/>
            </a:ln>
            <a:effectLst>
              <a:outerShdw blurRad="254000" dist="127000" algn="ctr" rotWithShape="0">
                <a:schemeClr val="bg1">
                  <a:lumMod val="65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defTabSz="914354"/>
              <a:endParaRPr lang="zh-CN" altLang="en-US" sz="2000" b="1">
                <a:solidFill>
                  <a:schemeClr val="bg1"/>
                </a:solidFill>
              </a:endParaRPr>
            </a:p>
          </p:txBody>
        </p:sp>
        <p:sp>
          <p:nvSpPr>
            <p:cNvPr id="10" name="文本框 9">
              <a:extLst>
                <a:ext uri="{FF2B5EF4-FFF2-40B4-BE49-F238E27FC236}">
                  <a16:creationId xmlns:a16="http://schemas.microsoft.com/office/drawing/2014/main" id="{FC328F5E-2170-EB92-BCA0-FC99474E76A7}"/>
                </a:ext>
              </a:extLst>
            </p:cNvPr>
            <p:cNvSpPr txBox="1"/>
            <p:nvPr/>
          </p:nvSpPr>
          <p:spPr>
            <a:xfrm>
              <a:off x="3485124" y="4284525"/>
              <a:ext cx="585417" cy="523220"/>
            </a:xfrm>
            <a:prstGeom prst="rect">
              <a:avLst/>
            </a:prstGeom>
            <a:noFill/>
          </p:spPr>
          <p:txBody>
            <a:bodyPr wrap="square" rtlCol="0">
              <a:spAutoFit/>
            </a:bodyPr>
            <a:lstStyle/>
            <a:p>
              <a:pPr algn="ctr"/>
              <a:r>
                <a:rPr lang="en-US" altLang="zh-CN" sz="2800" b="1" i="1" dirty="0">
                  <a:solidFill>
                    <a:srgbClr val="FFFFFF"/>
                  </a:solidFill>
                </a:rPr>
                <a:t>01</a:t>
              </a:r>
              <a:endParaRPr lang="zh-CN" altLang="en-US" sz="2800" b="1" i="1" dirty="0">
                <a:solidFill>
                  <a:srgbClr val="FFFFFF"/>
                </a:solidFill>
              </a:endParaRPr>
            </a:p>
          </p:txBody>
        </p:sp>
        <p:sp>
          <p:nvSpPr>
            <p:cNvPr id="11" name="文本框 10">
              <a:extLst>
                <a:ext uri="{FF2B5EF4-FFF2-40B4-BE49-F238E27FC236}">
                  <a16:creationId xmlns:a16="http://schemas.microsoft.com/office/drawing/2014/main" id="{7AD8E7D9-E8C6-02F8-EC7A-203209177BEB}"/>
                </a:ext>
              </a:extLst>
            </p:cNvPr>
            <p:cNvSpPr txBox="1"/>
            <p:nvPr/>
          </p:nvSpPr>
          <p:spPr>
            <a:xfrm>
              <a:off x="4272826" y="3043227"/>
              <a:ext cx="585418" cy="523220"/>
            </a:xfrm>
            <a:prstGeom prst="rect">
              <a:avLst/>
            </a:prstGeom>
            <a:noFill/>
          </p:spPr>
          <p:txBody>
            <a:bodyPr wrap="square" rtlCol="0">
              <a:spAutoFit/>
            </a:bodyPr>
            <a:lstStyle/>
            <a:p>
              <a:pPr algn="ctr"/>
              <a:r>
                <a:rPr lang="en-US" altLang="zh-CN" sz="2800" b="1" i="1" dirty="0">
                  <a:solidFill>
                    <a:srgbClr val="FFFFFF"/>
                  </a:solidFill>
                </a:rPr>
                <a:t>02</a:t>
              </a:r>
              <a:endParaRPr lang="zh-CN" altLang="en-US" sz="2800" b="1" i="1" dirty="0">
                <a:solidFill>
                  <a:srgbClr val="FFFFFF"/>
                </a:solidFill>
              </a:endParaRPr>
            </a:p>
          </p:txBody>
        </p:sp>
        <p:sp>
          <p:nvSpPr>
            <p:cNvPr id="12" name="文本框 11">
              <a:extLst>
                <a:ext uri="{FF2B5EF4-FFF2-40B4-BE49-F238E27FC236}">
                  <a16:creationId xmlns:a16="http://schemas.microsoft.com/office/drawing/2014/main" id="{981AA889-DDCB-FC73-AC44-CD7B918D9443}"/>
                </a:ext>
              </a:extLst>
            </p:cNvPr>
            <p:cNvSpPr txBox="1"/>
            <p:nvPr/>
          </p:nvSpPr>
          <p:spPr>
            <a:xfrm>
              <a:off x="5803100" y="2598735"/>
              <a:ext cx="585417" cy="523220"/>
            </a:xfrm>
            <a:prstGeom prst="rect">
              <a:avLst/>
            </a:prstGeom>
            <a:noFill/>
          </p:spPr>
          <p:txBody>
            <a:bodyPr wrap="square" rtlCol="0">
              <a:spAutoFit/>
            </a:bodyPr>
            <a:lstStyle/>
            <a:p>
              <a:pPr algn="ctr"/>
              <a:r>
                <a:rPr lang="en-US" altLang="zh-CN" sz="2800" b="1" i="1" dirty="0">
                  <a:solidFill>
                    <a:srgbClr val="FFFFFF"/>
                  </a:solidFill>
                </a:rPr>
                <a:t>03</a:t>
              </a:r>
              <a:endParaRPr lang="zh-CN" altLang="en-US" sz="2800" b="1" i="1" dirty="0">
                <a:solidFill>
                  <a:srgbClr val="FFFFFF"/>
                </a:solidFill>
              </a:endParaRPr>
            </a:p>
          </p:txBody>
        </p:sp>
        <p:sp>
          <p:nvSpPr>
            <p:cNvPr id="13" name="文本框 12">
              <a:extLst>
                <a:ext uri="{FF2B5EF4-FFF2-40B4-BE49-F238E27FC236}">
                  <a16:creationId xmlns:a16="http://schemas.microsoft.com/office/drawing/2014/main" id="{1AD0107D-0A67-1416-8D35-FDA3A53D2055}"/>
                </a:ext>
              </a:extLst>
            </p:cNvPr>
            <p:cNvSpPr txBox="1"/>
            <p:nvPr/>
          </p:nvSpPr>
          <p:spPr>
            <a:xfrm>
              <a:off x="4298397" y="4099110"/>
              <a:ext cx="3496328" cy="830997"/>
            </a:xfrm>
            <a:prstGeom prst="rect">
              <a:avLst/>
            </a:prstGeom>
            <a:noFill/>
          </p:spPr>
          <p:txBody>
            <a:bodyPr wrap="square">
              <a:spAutoFit/>
            </a:bodyPr>
            <a:lstStyle>
              <a:defPPr>
                <a:defRPr lang="zh-CN"/>
              </a:defPPr>
              <a:lvl1pPr marR="0" lvl="0" indent="0" algn="ctr" defTabSz="913765" fontAlgn="auto">
                <a:lnSpc>
                  <a:spcPct val="100000"/>
                </a:lnSpc>
                <a:spcBef>
                  <a:spcPts val="0"/>
                </a:spcBef>
                <a:spcAft>
                  <a:spcPts val="0"/>
                </a:spcAft>
                <a:buClrTx/>
                <a:buSzPct val="25000"/>
                <a:buFontTx/>
                <a:buNone/>
                <a:defRPr kumimoji="0" sz="2400" b="1" i="0" u="none" strike="noStrike" cap="none" spc="0" normalizeH="0" baseline="0">
                  <a:ln>
                    <a:noFill/>
                  </a:ln>
                  <a:solidFill>
                    <a:schemeClr val="bg2">
                      <a:lumMod val="10000"/>
                    </a:schemeClr>
                  </a:solidFill>
                  <a:effectLst/>
                  <a:uLnTx/>
                  <a:uFillTx/>
                </a:defRPr>
              </a:lvl1pPr>
            </a:lstStyle>
            <a:p>
              <a:r>
                <a:rPr lang="en-US" altLang="zh-CN" dirty="0"/>
                <a:t>Common text-to-speech library</a:t>
              </a:r>
            </a:p>
          </p:txBody>
        </p:sp>
        <p:sp>
          <p:nvSpPr>
            <p:cNvPr id="14" name="文本框 13">
              <a:extLst>
                <a:ext uri="{FF2B5EF4-FFF2-40B4-BE49-F238E27FC236}">
                  <a16:creationId xmlns:a16="http://schemas.microsoft.com/office/drawing/2014/main" id="{EC6CDB85-D302-D163-E6ED-475C81199FCB}"/>
                </a:ext>
              </a:extLst>
            </p:cNvPr>
            <p:cNvSpPr txBox="1"/>
            <p:nvPr/>
          </p:nvSpPr>
          <p:spPr>
            <a:xfrm>
              <a:off x="857022" y="4558585"/>
              <a:ext cx="2371770" cy="717038"/>
            </a:xfrm>
            <a:prstGeom prst="rect">
              <a:avLst/>
            </a:prstGeom>
          </p:spPr>
          <p:txBody>
            <a:bodyPr wrap="square" rtlCol="0">
              <a:spAutoFit/>
            </a:bodyPr>
            <a:lstStyle>
              <a:defPPr>
                <a:defRPr lang="zh-CN"/>
              </a:defPPr>
              <a:lvl1pPr>
                <a:lnSpc>
                  <a:spcPts val="1500"/>
                </a:lnSpc>
                <a:defRPr sz="900"/>
              </a:lvl1pPr>
            </a:lstStyle>
            <a:p>
              <a:pPr algn="ctr"/>
              <a:r>
                <a:rPr lang="en-US" altLang="zh-CN" sz="1200" dirty="0"/>
                <a:t>provides high-quality speech synthesis</a:t>
              </a:r>
            </a:p>
            <a:p>
              <a:pPr algn="ctr"/>
              <a:r>
                <a:rPr lang="en-US" altLang="zh-CN" sz="1200" b="0" i="0" dirty="0">
                  <a:solidFill>
                    <a:srgbClr val="333333"/>
                  </a:solidFill>
                  <a:effectLst/>
                </a:rPr>
                <a:t>Supports for multiple languages and speech properties</a:t>
              </a:r>
              <a:endParaRPr lang="en-US" altLang="zh-CN" sz="1200" dirty="0"/>
            </a:p>
          </p:txBody>
        </p:sp>
        <p:sp>
          <p:nvSpPr>
            <p:cNvPr id="15" name="文本框 14">
              <a:extLst>
                <a:ext uri="{FF2B5EF4-FFF2-40B4-BE49-F238E27FC236}">
                  <a16:creationId xmlns:a16="http://schemas.microsoft.com/office/drawing/2014/main" id="{4A62D21C-57B7-0597-45AE-7D6FCCB187E8}"/>
                </a:ext>
              </a:extLst>
            </p:cNvPr>
            <p:cNvSpPr txBox="1"/>
            <p:nvPr/>
          </p:nvSpPr>
          <p:spPr>
            <a:xfrm>
              <a:off x="8860008" y="4504556"/>
              <a:ext cx="2607152" cy="872071"/>
            </a:xfrm>
            <a:prstGeom prst="rect">
              <a:avLst/>
            </a:prstGeom>
          </p:spPr>
          <p:txBody>
            <a:bodyPr wrap="square" rtlCol="0">
              <a:spAutoFit/>
            </a:bodyPr>
            <a:lstStyle>
              <a:defPPr>
                <a:defRPr lang="zh-CN"/>
              </a:defPPr>
              <a:lvl1pPr>
                <a:lnSpc>
                  <a:spcPts val="1500"/>
                </a:lnSpc>
                <a:defRPr sz="900"/>
              </a:lvl1pPr>
            </a:lstStyle>
            <a:p>
              <a:r>
                <a:rPr lang="en-US" altLang="zh-CN" sz="1200" dirty="0"/>
                <a:t>Advantage : Cross-platform support, </a:t>
              </a:r>
              <a:r>
                <a:rPr lang="en-US" altLang="zh-CN" sz="1200" b="0" i="0" dirty="0">
                  <a:solidFill>
                    <a:srgbClr val="333333"/>
                  </a:solidFill>
                  <a:effectLst/>
                </a:rPr>
                <a:t>interfaces and functionality similar to pyttsx3</a:t>
              </a:r>
            </a:p>
            <a:p>
              <a:r>
                <a:rPr lang="en-US" altLang="zh-CN" sz="1200" b="0" i="0" dirty="0">
                  <a:solidFill>
                    <a:srgbClr val="333333"/>
                  </a:solidFill>
                  <a:effectLst/>
                </a:rPr>
                <a:t>Disadvantage : Inactive maintenance</a:t>
              </a:r>
              <a:endParaRPr lang="en-US" altLang="zh-CN" sz="1200" dirty="0"/>
            </a:p>
            <a:p>
              <a:endParaRPr lang="en-US" altLang="zh-CN" dirty="0"/>
            </a:p>
          </p:txBody>
        </p:sp>
        <p:sp>
          <p:nvSpPr>
            <p:cNvPr id="16" name="文本框 15">
              <a:extLst>
                <a:ext uri="{FF2B5EF4-FFF2-40B4-BE49-F238E27FC236}">
                  <a16:creationId xmlns:a16="http://schemas.microsoft.com/office/drawing/2014/main" id="{19EA21AF-CC14-94F7-D231-85001F3AA786}"/>
                </a:ext>
              </a:extLst>
            </p:cNvPr>
            <p:cNvSpPr txBox="1"/>
            <p:nvPr/>
          </p:nvSpPr>
          <p:spPr>
            <a:xfrm>
              <a:off x="4910115" y="1497301"/>
              <a:ext cx="2536957" cy="879547"/>
            </a:xfrm>
            <a:prstGeom prst="rect">
              <a:avLst/>
            </a:prstGeom>
          </p:spPr>
          <p:txBody>
            <a:bodyPr wrap="square" rtlCol="0">
              <a:spAutoFit/>
            </a:bodyPr>
            <a:lstStyle>
              <a:defPPr>
                <a:defRPr lang="zh-CN"/>
              </a:defPPr>
              <a:lvl1pPr>
                <a:lnSpc>
                  <a:spcPts val="1500"/>
                </a:lnSpc>
                <a:defRPr sz="900"/>
              </a:lvl1pPr>
            </a:lstStyle>
            <a:p>
              <a:pPr algn="ctr"/>
              <a:r>
                <a:rPr lang="en-US" altLang="zh-CN" sz="1200" dirty="0"/>
                <a:t>Advantage : Cross-platform support, provides an intuitive interface.</a:t>
              </a:r>
            </a:p>
            <a:p>
              <a:pPr algn="ctr"/>
              <a:r>
                <a:rPr lang="en-US" altLang="zh-CN" sz="1200" dirty="0"/>
                <a:t>Disadvantage: Additional configuration and dependencies, </a:t>
              </a:r>
              <a:r>
                <a:rPr lang="en-US" altLang="zh-CN" sz="1200" b="0" i="0" dirty="0">
                  <a:solidFill>
                    <a:srgbClr val="333333"/>
                  </a:solidFill>
                  <a:effectLst/>
                </a:rPr>
                <a:t>Support limited</a:t>
              </a:r>
              <a:endParaRPr lang="en-US" altLang="zh-CN" sz="1200" dirty="0"/>
            </a:p>
          </p:txBody>
        </p:sp>
        <p:sp>
          <p:nvSpPr>
            <p:cNvPr id="18" name="文本框 17">
              <a:extLst>
                <a:ext uri="{FF2B5EF4-FFF2-40B4-BE49-F238E27FC236}">
                  <a16:creationId xmlns:a16="http://schemas.microsoft.com/office/drawing/2014/main" id="{048DAAB1-E258-8AFB-20D4-2B1399269561}"/>
                </a:ext>
              </a:extLst>
            </p:cNvPr>
            <p:cNvSpPr txBox="1"/>
            <p:nvPr/>
          </p:nvSpPr>
          <p:spPr>
            <a:xfrm>
              <a:off x="1113354" y="2240105"/>
              <a:ext cx="2371770" cy="338017"/>
            </a:xfrm>
            <a:prstGeom prst="rect">
              <a:avLst/>
            </a:prstGeom>
            <a:noFill/>
          </p:spPr>
          <p:txBody>
            <a:bodyPr wrap="square" rtlCol="0">
              <a:spAutoFit/>
            </a:bodyPr>
            <a:lstStyle/>
            <a:p>
              <a:pPr algn="r"/>
              <a:r>
                <a:rPr lang="en-US" altLang="zh-CN" sz="2000" b="1" dirty="0" err="1">
                  <a:solidFill>
                    <a:schemeClr val="accent5"/>
                  </a:solidFill>
                </a:rPr>
                <a:t>espeak</a:t>
              </a:r>
              <a:endParaRPr lang="en-US" altLang="zh-CN" sz="2000" b="1" dirty="0">
                <a:solidFill>
                  <a:schemeClr val="accent5"/>
                </a:solidFill>
              </a:endParaRPr>
            </a:p>
          </p:txBody>
        </p:sp>
        <p:sp>
          <p:nvSpPr>
            <p:cNvPr id="19" name="文本框 18">
              <a:extLst>
                <a:ext uri="{FF2B5EF4-FFF2-40B4-BE49-F238E27FC236}">
                  <a16:creationId xmlns:a16="http://schemas.microsoft.com/office/drawing/2014/main" id="{BA69ACC3-4AC2-01AC-8FA1-439BFA60BC4B}"/>
                </a:ext>
              </a:extLst>
            </p:cNvPr>
            <p:cNvSpPr txBox="1"/>
            <p:nvPr/>
          </p:nvSpPr>
          <p:spPr>
            <a:xfrm>
              <a:off x="9068066" y="4190441"/>
              <a:ext cx="1128068" cy="338017"/>
            </a:xfrm>
            <a:prstGeom prst="rect">
              <a:avLst/>
            </a:prstGeom>
            <a:noFill/>
          </p:spPr>
          <p:txBody>
            <a:bodyPr wrap="square" rtlCol="0">
              <a:spAutoFit/>
            </a:bodyPr>
            <a:lstStyle/>
            <a:p>
              <a:r>
                <a:rPr lang="en-US" altLang="zh-CN" sz="2000" b="1" dirty="0" err="1">
                  <a:solidFill>
                    <a:schemeClr val="accent1"/>
                  </a:solidFill>
                </a:rPr>
                <a:t>pyttsx</a:t>
              </a:r>
              <a:endParaRPr lang="en-US" altLang="zh-CN" sz="2000" b="1" dirty="0">
                <a:solidFill>
                  <a:schemeClr val="accent1"/>
                </a:solidFill>
              </a:endParaRPr>
            </a:p>
          </p:txBody>
        </p:sp>
        <p:sp>
          <p:nvSpPr>
            <p:cNvPr id="20" name="文本框 19">
              <a:extLst>
                <a:ext uri="{FF2B5EF4-FFF2-40B4-BE49-F238E27FC236}">
                  <a16:creationId xmlns:a16="http://schemas.microsoft.com/office/drawing/2014/main" id="{9850EEB7-786C-524E-5668-5AA3FD77454F}"/>
                </a:ext>
              </a:extLst>
            </p:cNvPr>
            <p:cNvSpPr txBox="1"/>
            <p:nvPr/>
          </p:nvSpPr>
          <p:spPr>
            <a:xfrm>
              <a:off x="5531775" y="1120295"/>
              <a:ext cx="1128068" cy="338017"/>
            </a:xfrm>
            <a:prstGeom prst="rect">
              <a:avLst/>
            </a:prstGeom>
            <a:noFill/>
          </p:spPr>
          <p:txBody>
            <a:bodyPr wrap="square" rtlCol="0">
              <a:spAutoFit/>
            </a:bodyPr>
            <a:lstStyle/>
            <a:p>
              <a:pPr algn="ctr"/>
              <a:r>
                <a:rPr lang="en-US" altLang="zh-CN" sz="2000" b="1" dirty="0">
                  <a:solidFill>
                    <a:schemeClr val="accent6"/>
                  </a:solidFill>
                </a:rPr>
                <a:t>pyttsx3</a:t>
              </a:r>
            </a:p>
          </p:txBody>
        </p:sp>
      </p:grpSp>
      <p:sp>
        <p:nvSpPr>
          <p:cNvPr id="24" name="文本框 23">
            <a:extLst>
              <a:ext uri="{FF2B5EF4-FFF2-40B4-BE49-F238E27FC236}">
                <a16:creationId xmlns:a16="http://schemas.microsoft.com/office/drawing/2014/main" id="{AF298A83-DC1A-D555-5E8E-48C74F6911E9}"/>
              </a:ext>
            </a:extLst>
          </p:cNvPr>
          <p:cNvSpPr txBox="1"/>
          <p:nvPr/>
        </p:nvSpPr>
        <p:spPr>
          <a:xfrm>
            <a:off x="7643677" y="3669053"/>
            <a:ext cx="6096000" cy="523220"/>
          </a:xfrm>
          <a:prstGeom prst="rect">
            <a:avLst/>
          </a:prstGeom>
          <a:noFill/>
        </p:spPr>
        <p:txBody>
          <a:bodyPr wrap="square">
            <a:spAutoFit/>
          </a:bodyPr>
          <a:lstStyle/>
          <a:p>
            <a:r>
              <a:rPr lang="en-US" altLang="zh-CN" sz="2800" b="1" i="1" dirty="0">
                <a:solidFill>
                  <a:srgbClr val="FFFFFF"/>
                </a:solidFill>
              </a:rPr>
              <a:t>04</a:t>
            </a:r>
            <a:endParaRPr lang="zh-CN" altLang="en-US" sz="2800" dirty="0"/>
          </a:p>
        </p:txBody>
      </p:sp>
      <p:sp>
        <p:nvSpPr>
          <p:cNvPr id="26" name="文本框 25">
            <a:extLst>
              <a:ext uri="{FF2B5EF4-FFF2-40B4-BE49-F238E27FC236}">
                <a16:creationId xmlns:a16="http://schemas.microsoft.com/office/drawing/2014/main" id="{F3C68172-D968-2084-786E-131A863E6570}"/>
              </a:ext>
            </a:extLst>
          </p:cNvPr>
          <p:cNvSpPr txBox="1"/>
          <p:nvPr/>
        </p:nvSpPr>
        <p:spPr>
          <a:xfrm>
            <a:off x="8340206" y="4965687"/>
            <a:ext cx="6685934" cy="523220"/>
          </a:xfrm>
          <a:prstGeom prst="rect">
            <a:avLst/>
          </a:prstGeom>
          <a:noFill/>
        </p:spPr>
        <p:txBody>
          <a:bodyPr wrap="square">
            <a:spAutoFit/>
          </a:bodyPr>
          <a:lstStyle/>
          <a:p>
            <a:r>
              <a:rPr lang="en-US" altLang="zh-CN" sz="2800" b="1" i="1" dirty="0">
                <a:solidFill>
                  <a:srgbClr val="FFFFFF"/>
                </a:solidFill>
              </a:rPr>
              <a:t>05</a:t>
            </a:r>
            <a:endParaRPr lang="zh-CN" altLang="en-US" sz="2800" dirty="0"/>
          </a:p>
        </p:txBody>
      </p:sp>
      <p:sp>
        <p:nvSpPr>
          <p:cNvPr id="29" name="文本框 28">
            <a:extLst>
              <a:ext uri="{FF2B5EF4-FFF2-40B4-BE49-F238E27FC236}">
                <a16:creationId xmlns:a16="http://schemas.microsoft.com/office/drawing/2014/main" id="{CD374FAA-C32A-F935-C9B2-61B7BD18D618}"/>
              </a:ext>
            </a:extLst>
          </p:cNvPr>
          <p:cNvSpPr txBox="1"/>
          <p:nvPr/>
        </p:nvSpPr>
        <p:spPr>
          <a:xfrm>
            <a:off x="403605" y="4943382"/>
            <a:ext cx="2445299" cy="400110"/>
          </a:xfrm>
          <a:prstGeom prst="rect">
            <a:avLst/>
          </a:prstGeom>
          <a:noFill/>
        </p:spPr>
        <p:txBody>
          <a:bodyPr wrap="square" rtlCol="0">
            <a:spAutoFit/>
          </a:bodyPr>
          <a:lstStyle/>
          <a:p>
            <a:pPr algn="r"/>
            <a:r>
              <a:rPr lang="en-US" altLang="zh-CN" sz="2000" b="1" dirty="0" err="1">
                <a:solidFill>
                  <a:schemeClr val="accent5"/>
                </a:solidFill>
              </a:rPr>
              <a:t>gTTS</a:t>
            </a:r>
            <a:r>
              <a:rPr lang="en-US" altLang="zh-CN" sz="2000" b="1" dirty="0">
                <a:solidFill>
                  <a:schemeClr val="accent5"/>
                </a:solidFill>
              </a:rPr>
              <a:t> </a:t>
            </a:r>
          </a:p>
        </p:txBody>
      </p:sp>
      <p:sp>
        <p:nvSpPr>
          <p:cNvPr id="30" name="文本框 29">
            <a:extLst>
              <a:ext uri="{FF2B5EF4-FFF2-40B4-BE49-F238E27FC236}">
                <a16:creationId xmlns:a16="http://schemas.microsoft.com/office/drawing/2014/main" id="{0D9B94F8-F081-23CE-BC1E-354B3A4F97BF}"/>
              </a:ext>
            </a:extLst>
          </p:cNvPr>
          <p:cNvSpPr txBox="1"/>
          <p:nvPr/>
        </p:nvSpPr>
        <p:spPr>
          <a:xfrm>
            <a:off x="1772870" y="2896571"/>
            <a:ext cx="2445299" cy="1041119"/>
          </a:xfrm>
          <a:prstGeom prst="rect">
            <a:avLst/>
          </a:prstGeom>
        </p:spPr>
        <p:txBody>
          <a:bodyPr wrap="square" rtlCol="0">
            <a:spAutoFit/>
          </a:bodyPr>
          <a:lstStyle>
            <a:defPPr>
              <a:defRPr lang="zh-CN"/>
            </a:defPPr>
            <a:lvl1pPr>
              <a:lnSpc>
                <a:spcPts val="1500"/>
              </a:lnSpc>
              <a:defRPr sz="900"/>
            </a:lvl1pPr>
          </a:lstStyle>
          <a:p>
            <a:pPr algn="ctr"/>
            <a:r>
              <a:rPr lang="en-US" altLang="zh-CN" sz="1200" dirty="0"/>
              <a:t>Open source and cross-platform, supports multiple languages and phoneme libraries, provides command line tools and API interfaces</a:t>
            </a:r>
          </a:p>
        </p:txBody>
      </p:sp>
      <p:sp>
        <p:nvSpPr>
          <p:cNvPr id="31" name="文本框 30">
            <a:extLst>
              <a:ext uri="{FF2B5EF4-FFF2-40B4-BE49-F238E27FC236}">
                <a16:creationId xmlns:a16="http://schemas.microsoft.com/office/drawing/2014/main" id="{87A356AE-DA79-3948-0060-23546699301C}"/>
              </a:ext>
            </a:extLst>
          </p:cNvPr>
          <p:cNvSpPr txBox="1"/>
          <p:nvPr/>
        </p:nvSpPr>
        <p:spPr>
          <a:xfrm>
            <a:off x="9068515" y="2854333"/>
            <a:ext cx="1163040" cy="400110"/>
          </a:xfrm>
          <a:prstGeom prst="rect">
            <a:avLst/>
          </a:prstGeom>
          <a:noFill/>
        </p:spPr>
        <p:txBody>
          <a:bodyPr wrap="square" rtlCol="0">
            <a:spAutoFit/>
          </a:bodyPr>
          <a:lstStyle/>
          <a:p>
            <a:pPr algn="ctr"/>
            <a:r>
              <a:rPr lang="en-US" altLang="zh-CN" sz="2000" b="1" dirty="0">
                <a:solidFill>
                  <a:schemeClr val="accent6"/>
                </a:solidFill>
              </a:rPr>
              <a:t>festival</a:t>
            </a:r>
          </a:p>
        </p:txBody>
      </p:sp>
      <p:sp>
        <p:nvSpPr>
          <p:cNvPr id="32" name="文本框 31">
            <a:extLst>
              <a:ext uri="{FF2B5EF4-FFF2-40B4-BE49-F238E27FC236}">
                <a16:creationId xmlns:a16="http://schemas.microsoft.com/office/drawing/2014/main" id="{F2A48AF7-E38A-4FD5-63F5-E7410ADF6020}"/>
              </a:ext>
            </a:extLst>
          </p:cNvPr>
          <p:cNvSpPr txBox="1"/>
          <p:nvPr/>
        </p:nvSpPr>
        <p:spPr>
          <a:xfrm>
            <a:off x="8535018" y="3239942"/>
            <a:ext cx="2615607" cy="656398"/>
          </a:xfrm>
          <a:prstGeom prst="rect">
            <a:avLst/>
          </a:prstGeom>
        </p:spPr>
        <p:txBody>
          <a:bodyPr wrap="square" rtlCol="0">
            <a:spAutoFit/>
          </a:bodyPr>
          <a:lstStyle>
            <a:defPPr>
              <a:defRPr lang="zh-CN"/>
            </a:defPPr>
            <a:lvl1pPr>
              <a:lnSpc>
                <a:spcPts val="1500"/>
              </a:lnSpc>
              <a:defRPr sz="900"/>
            </a:lvl1pPr>
          </a:lstStyle>
          <a:p>
            <a:pPr algn="ctr"/>
            <a:r>
              <a:rPr lang="en-US" altLang="zh-CN" sz="1200" dirty="0"/>
              <a:t>Open source and cross-platform</a:t>
            </a:r>
          </a:p>
          <a:p>
            <a:pPr algn="ctr"/>
            <a:r>
              <a:rPr lang="en-US" altLang="zh-CN" sz="1200" dirty="0"/>
              <a:t>Provide a variety of speech synthesis methods and algorithms</a:t>
            </a:r>
          </a:p>
        </p:txBody>
      </p:sp>
    </p:spTree>
    <p:custDataLst>
      <p:tags r:id="rId1"/>
    </p:custDataLst>
    <p:extLst>
      <p:ext uri="{BB962C8B-B14F-4D97-AF65-F5344CB8AC3E}">
        <p14:creationId xmlns:p14="http://schemas.microsoft.com/office/powerpoint/2010/main" val="393062108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LIDE.THEME" val="#212784"/>
</p:tagLst>
</file>

<file path=ppt/tags/tag10.xml><?xml version="1.0" encoding="utf-8"?>
<p:tagLst xmlns:a="http://schemas.openxmlformats.org/drawingml/2006/main" xmlns:r="http://schemas.openxmlformats.org/officeDocument/2006/relationships" xmlns:p="http://schemas.openxmlformats.org/presentationml/2006/main">
  <p:tag name="ISLIDE.DIAGRAM" val="#566842;"/>
</p:tagLst>
</file>

<file path=ppt/tags/tag11.xml><?xml version="1.0" encoding="utf-8"?>
<p:tagLst xmlns:a="http://schemas.openxmlformats.org/drawingml/2006/main" xmlns:r="http://schemas.openxmlformats.org/officeDocument/2006/relationships" xmlns:p="http://schemas.openxmlformats.org/presentationml/2006/main">
  <p:tag name="ISLIDE.DIAGRAM" val="#914679;"/>
</p:tagLst>
</file>

<file path=ppt/tags/tag12.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13.xml><?xml version="1.0" encoding="utf-8"?>
<p:tagLst xmlns:a="http://schemas.openxmlformats.org/drawingml/2006/main" xmlns:r="http://schemas.openxmlformats.org/officeDocument/2006/relationships" xmlns:p="http://schemas.openxmlformats.org/presentationml/2006/main">
  <p:tag name="ISLIDE.DIAGRAM" val="#912403;"/>
</p:tagLst>
</file>

<file path=ppt/tags/tag14.xml><?xml version="1.0" encoding="utf-8"?>
<p:tagLst xmlns:a="http://schemas.openxmlformats.org/drawingml/2006/main" xmlns:r="http://schemas.openxmlformats.org/officeDocument/2006/relationships" xmlns:p="http://schemas.openxmlformats.org/presentationml/2006/main">
  <p:tag name="ISLIDE.DIAGRAM" val="#988901;"/>
</p:tagLst>
</file>

<file path=ppt/tags/tag15.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2.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3.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4.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5.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6.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7.xml><?xml version="1.0" encoding="utf-8"?>
<p:tagLst xmlns:a="http://schemas.openxmlformats.org/drawingml/2006/main" xmlns:r="http://schemas.openxmlformats.org/officeDocument/2006/relationships" xmlns:p="http://schemas.openxmlformats.org/presentationml/2006/main">
  <p:tag name="ISLIDE.DIAGRAM" val="#774615;"/>
</p:tagLst>
</file>

<file path=ppt/tags/tag8.xml><?xml version="1.0" encoding="utf-8"?>
<p:tagLst xmlns:a="http://schemas.openxmlformats.org/drawingml/2006/main" xmlns:r="http://schemas.openxmlformats.org/officeDocument/2006/relationships" xmlns:p="http://schemas.openxmlformats.org/presentationml/2006/main">
  <p:tag name="ISLIDE.DIAGRAM" val="#803351;"/>
  <p:tag name="ISLIDE.PICTURE" val="#721784;"/>
</p:tagLst>
</file>

<file path=ppt/tags/tag9.xml><?xml version="1.0" encoding="utf-8"?>
<p:tagLst xmlns:a="http://schemas.openxmlformats.org/drawingml/2006/main" xmlns:r="http://schemas.openxmlformats.org/officeDocument/2006/relationships" xmlns:p="http://schemas.openxmlformats.org/presentationml/2006/main">
  <p:tag name="ISLIDE.DIAGRAM" val="#774611;"/>
</p:tagLst>
</file>

<file path=ppt/theme/theme1.xml><?xml version="1.0" encoding="utf-8"?>
<a:theme xmlns:a="http://schemas.openxmlformats.org/drawingml/2006/main" name="主题5">
  <a:themeElements>
    <a:clrScheme name="房利美">
      <a:dk1>
        <a:srgbClr val="000000"/>
      </a:dk1>
      <a:lt1>
        <a:srgbClr val="FFFFFF"/>
      </a:lt1>
      <a:dk2>
        <a:srgbClr val="768394"/>
      </a:dk2>
      <a:lt2>
        <a:srgbClr val="F0F0F0"/>
      </a:lt2>
      <a:accent1>
        <a:srgbClr val="356796"/>
      </a:accent1>
      <a:accent2>
        <a:srgbClr val="AED7EA"/>
      </a:accent2>
      <a:accent3>
        <a:srgbClr val="BEA599"/>
      </a:accent3>
      <a:accent4>
        <a:srgbClr val="827F7F"/>
      </a:accent4>
      <a:accent5>
        <a:srgbClr val="6B6B6B"/>
      </a:accent5>
      <a:accent6>
        <a:srgbClr val="525252"/>
      </a:accent6>
      <a:hlink>
        <a:srgbClr val="4276AA"/>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主题5" id="{B8EDB911-D765-4A7B-BBC7-40DBB672FBA6}" vid="{AECAB1C0-5DF6-436C-85E8-20094DBE11C0}"/>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4"/>
    </a:dk2>
    <a:lt2>
      <a:srgbClr val="F0F0F0"/>
    </a:lt2>
    <a:accent1>
      <a:srgbClr val="356796"/>
    </a:accent1>
    <a:accent2>
      <a:srgbClr val="AED7EA"/>
    </a:accent2>
    <a:accent3>
      <a:srgbClr val="BEA599"/>
    </a:accent3>
    <a:accent4>
      <a:srgbClr val="827F7F"/>
    </a:accent4>
    <a:accent5>
      <a:srgbClr val="6B6B6B"/>
    </a:accent5>
    <a:accent6>
      <a:srgbClr val="525252"/>
    </a:accent6>
    <a:hlink>
      <a:srgbClr val="4276AA"/>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4"/>
    </a:dk2>
    <a:lt2>
      <a:srgbClr val="F0F0F0"/>
    </a:lt2>
    <a:accent1>
      <a:srgbClr val="356796"/>
    </a:accent1>
    <a:accent2>
      <a:srgbClr val="AED7EA"/>
    </a:accent2>
    <a:accent3>
      <a:srgbClr val="BEA599"/>
    </a:accent3>
    <a:accent4>
      <a:srgbClr val="827F7F"/>
    </a:accent4>
    <a:accent5>
      <a:srgbClr val="6B6B6B"/>
    </a:accent5>
    <a:accent6>
      <a:srgbClr val="525252"/>
    </a:accent6>
    <a:hlink>
      <a:srgbClr val="4276AA"/>
    </a:hlink>
    <a:folHlink>
      <a:srgbClr val="BFBFBF"/>
    </a:folHlink>
  </a:clrScheme>
</a:themeOverride>
</file>

<file path=ppt/theme/themeOverride3.xml><?xml version="1.0" encoding="utf-8"?>
<a:themeOverride xmlns:a="http://schemas.openxmlformats.org/drawingml/2006/main">
  <a:clrScheme name="房利美">
    <a:dk1>
      <a:srgbClr val="000000"/>
    </a:dk1>
    <a:lt1>
      <a:srgbClr val="FFFFFF"/>
    </a:lt1>
    <a:dk2>
      <a:srgbClr val="768394"/>
    </a:dk2>
    <a:lt2>
      <a:srgbClr val="F0F0F0"/>
    </a:lt2>
    <a:accent1>
      <a:srgbClr val="356796"/>
    </a:accent1>
    <a:accent2>
      <a:srgbClr val="AED7EA"/>
    </a:accent2>
    <a:accent3>
      <a:srgbClr val="BEA599"/>
    </a:accent3>
    <a:accent4>
      <a:srgbClr val="827F7F"/>
    </a:accent4>
    <a:accent5>
      <a:srgbClr val="6B6B6B"/>
    </a:accent5>
    <a:accent6>
      <a:srgbClr val="525252"/>
    </a:accent6>
    <a:hlink>
      <a:srgbClr val="4276AA"/>
    </a:hlink>
    <a:folHlink>
      <a:srgbClr val="BFBFBF"/>
    </a:folHlink>
  </a:clrScheme>
</a:themeOverride>
</file>

<file path=ppt/theme/themeOverride4.xml><?xml version="1.0" encoding="utf-8"?>
<a:themeOverride xmlns:a="http://schemas.openxmlformats.org/drawingml/2006/main">
  <a:clrScheme name="房利美">
    <a:dk1>
      <a:srgbClr val="000000"/>
    </a:dk1>
    <a:lt1>
      <a:srgbClr val="FFFFFF"/>
    </a:lt1>
    <a:dk2>
      <a:srgbClr val="768394"/>
    </a:dk2>
    <a:lt2>
      <a:srgbClr val="F0F0F0"/>
    </a:lt2>
    <a:accent1>
      <a:srgbClr val="356796"/>
    </a:accent1>
    <a:accent2>
      <a:srgbClr val="AED7EA"/>
    </a:accent2>
    <a:accent3>
      <a:srgbClr val="BEA599"/>
    </a:accent3>
    <a:accent4>
      <a:srgbClr val="827F7F"/>
    </a:accent4>
    <a:accent5>
      <a:srgbClr val="6B6B6B"/>
    </a:accent5>
    <a:accent6>
      <a:srgbClr val="525252"/>
    </a:accent6>
    <a:hlink>
      <a:srgbClr val="4276AA"/>
    </a:hlink>
    <a:folHlink>
      <a:srgbClr val="BFBFBF"/>
    </a:folHlink>
  </a:clrScheme>
</a:themeOverride>
</file>

<file path=ppt/theme/themeOverride5.xml><?xml version="1.0" encoding="utf-8"?>
<a:themeOverride xmlns:a="http://schemas.openxmlformats.org/drawingml/2006/main">
  <a:clrScheme name="房利美">
    <a:dk1>
      <a:srgbClr val="000000"/>
    </a:dk1>
    <a:lt1>
      <a:srgbClr val="FFFFFF"/>
    </a:lt1>
    <a:dk2>
      <a:srgbClr val="768394"/>
    </a:dk2>
    <a:lt2>
      <a:srgbClr val="F0F0F0"/>
    </a:lt2>
    <a:accent1>
      <a:srgbClr val="356796"/>
    </a:accent1>
    <a:accent2>
      <a:srgbClr val="AED7EA"/>
    </a:accent2>
    <a:accent3>
      <a:srgbClr val="BEA599"/>
    </a:accent3>
    <a:accent4>
      <a:srgbClr val="827F7F"/>
    </a:accent4>
    <a:accent5>
      <a:srgbClr val="6B6B6B"/>
    </a:accent5>
    <a:accent6>
      <a:srgbClr val="525252"/>
    </a:accent6>
    <a:hlink>
      <a:srgbClr val="4276AA"/>
    </a:hlink>
    <a:folHlink>
      <a:srgbClr val="BFBFBF"/>
    </a:folHlink>
  </a:clrScheme>
</a:themeOverride>
</file>

<file path=ppt/theme/themeOverride6.xml><?xml version="1.0" encoding="utf-8"?>
<a:themeOverride xmlns:a="http://schemas.openxmlformats.org/drawingml/2006/main">
  <a:clrScheme name="房利美">
    <a:dk1>
      <a:srgbClr val="000000"/>
    </a:dk1>
    <a:lt1>
      <a:srgbClr val="FFFFFF"/>
    </a:lt1>
    <a:dk2>
      <a:srgbClr val="768394"/>
    </a:dk2>
    <a:lt2>
      <a:srgbClr val="F0F0F0"/>
    </a:lt2>
    <a:accent1>
      <a:srgbClr val="356796"/>
    </a:accent1>
    <a:accent2>
      <a:srgbClr val="AED7EA"/>
    </a:accent2>
    <a:accent3>
      <a:srgbClr val="BEA599"/>
    </a:accent3>
    <a:accent4>
      <a:srgbClr val="827F7F"/>
    </a:accent4>
    <a:accent5>
      <a:srgbClr val="6B6B6B"/>
    </a:accent5>
    <a:accent6>
      <a:srgbClr val="525252"/>
    </a:accent6>
    <a:hlink>
      <a:srgbClr val="4276AA"/>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iSlide</Template>
  <TotalTime>235</TotalTime>
  <Words>924</Words>
  <Application>Microsoft Office PowerPoint</Application>
  <PresentationFormat>宽屏</PresentationFormat>
  <Paragraphs>137</Paragraphs>
  <Slides>14</Slides>
  <Notes>0</Notes>
  <HiddenSlides>0</HiddenSlides>
  <MMClips>0</MMClips>
  <ScaleCrop>false</ScaleCrop>
  <HeadingPairs>
    <vt:vector size="8" baseType="variant">
      <vt:variant>
        <vt:lpstr>已用的字体</vt:lpstr>
      </vt:variant>
      <vt:variant>
        <vt:i4>4</vt:i4>
      </vt:variant>
      <vt:variant>
        <vt:lpstr>主题</vt:lpstr>
      </vt:variant>
      <vt:variant>
        <vt:i4>1</vt:i4>
      </vt:variant>
      <vt:variant>
        <vt:lpstr>嵌入 OLE 服务器</vt:lpstr>
      </vt:variant>
      <vt:variant>
        <vt:i4>1</vt:i4>
      </vt:variant>
      <vt:variant>
        <vt:lpstr>幻灯片标题</vt:lpstr>
      </vt:variant>
      <vt:variant>
        <vt:i4>14</vt:i4>
      </vt:variant>
    </vt:vector>
  </HeadingPairs>
  <TitlesOfParts>
    <vt:vector size="20" baseType="lpstr">
      <vt:lpstr>Arial</vt:lpstr>
      <vt:lpstr>Calibri</vt:lpstr>
      <vt:lpstr>Impact</vt:lpstr>
      <vt:lpstr>tahoma</vt:lpstr>
      <vt:lpstr>主题5</vt:lpstr>
      <vt:lpstr>think-cell Slide</vt:lpstr>
      <vt:lpstr>Text-to-Speech based on pyttsx3</vt:lpstr>
      <vt:lpstr>PowerPoint 演示文稿</vt:lpstr>
      <vt:lpstr>Background</vt:lpstr>
      <vt:lpstr>Use "Title Only" Layout</vt:lpstr>
      <vt:lpstr>Implementation</vt:lpstr>
      <vt:lpstr>Theoretical introduction</vt:lpstr>
      <vt:lpstr>Speech synthesis</vt:lpstr>
      <vt:lpstr>Signal processing </vt:lpstr>
      <vt:lpstr>Common text-to-speech library</vt:lpstr>
      <vt:lpstr>Introduction to pyttsx3</vt:lpstr>
      <vt:lpstr>Thinking</vt:lpstr>
      <vt:lpstr>Improvement</vt:lpstr>
      <vt:lpstr>Future Application</vt:lpstr>
      <vt:lpstr>Thank for  your listening </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张 旭东</cp:lastModifiedBy>
  <cp:revision>6</cp:revision>
  <cp:lastPrinted>2018-08-16T16:00:00Z</cp:lastPrinted>
  <dcterms:created xsi:type="dcterms:W3CDTF">2018-08-16T16:00:00Z</dcterms:created>
  <dcterms:modified xsi:type="dcterms:W3CDTF">2023-05-29T05:18: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ies>
</file>